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80" r:id="rId2"/>
    <p:sldId id="282" r:id="rId3"/>
    <p:sldId id="284" r:id="rId4"/>
    <p:sldId id="288" r:id="rId5"/>
    <p:sldId id="286" r:id="rId6"/>
    <p:sldId id="285" r:id="rId7"/>
    <p:sldId id="289" r:id="rId8"/>
    <p:sldId id="294" r:id="rId9"/>
    <p:sldId id="292" r:id="rId10"/>
    <p:sldId id="290" r:id="rId11"/>
    <p:sldId id="267" r:id="rId12"/>
  </p:sldIdLst>
  <p:sldSz cx="9144000" cy="5143500" type="screen16x9"/>
  <p:notesSz cx="6858000" cy="9144000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02">
          <p15:clr>
            <a:srgbClr val="A4A3A4"/>
          </p15:clr>
        </p15:guide>
        <p15:guide id="2" orient="horz" pos="3027">
          <p15:clr>
            <a:srgbClr val="A4A3A4"/>
          </p15:clr>
        </p15:guide>
        <p15:guide id="3" orient="horz" pos="166">
          <p15:clr>
            <a:srgbClr val="A4A3A4"/>
          </p15:clr>
        </p15:guide>
        <p15:guide id="4" orient="horz" pos="573">
          <p15:clr>
            <a:srgbClr val="A4A3A4"/>
          </p15:clr>
        </p15:guide>
        <p15:guide id="5" orient="horz" pos="2765">
          <p15:clr>
            <a:srgbClr val="A4A3A4"/>
          </p15:clr>
        </p15:guide>
        <p15:guide id="6" orient="horz" pos="480">
          <p15:clr>
            <a:srgbClr val="A4A3A4"/>
          </p15:clr>
        </p15:guide>
        <p15:guide id="7" orient="horz" pos="303">
          <p15:clr>
            <a:srgbClr val="A4A3A4"/>
          </p15:clr>
        </p15:guide>
        <p15:guide id="8" orient="horz" pos="3128">
          <p15:clr>
            <a:srgbClr val="A4A3A4"/>
          </p15:clr>
        </p15:guide>
        <p15:guide id="9" orient="horz" pos="2528">
          <p15:clr>
            <a:srgbClr val="A4A3A4"/>
          </p15:clr>
        </p15:guide>
        <p15:guide id="10" pos="2812">
          <p15:clr>
            <a:srgbClr val="A4A3A4"/>
          </p15:clr>
        </p15:guide>
        <p15:guide id="11" pos="5646">
          <p15:clr>
            <a:srgbClr val="A4A3A4"/>
          </p15:clr>
        </p15:guide>
        <p15:guide id="12" pos="261">
          <p15:clr>
            <a:srgbClr val="A4A3A4"/>
          </p15:clr>
        </p15:guide>
        <p15:guide id="13" pos="2949">
          <p15:clr>
            <a:srgbClr val="A4A3A4"/>
          </p15:clr>
        </p15:guide>
        <p15:guide id="14" pos="113">
          <p15:clr>
            <a:srgbClr val="A4A3A4"/>
          </p15:clr>
        </p15:guide>
        <p15:guide id="15" pos="5500">
          <p15:clr>
            <a:srgbClr val="A4A3A4"/>
          </p15:clr>
        </p15:guide>
        <p15:guide id="16" pos="5281">
          <p15:clr>
            <a:srgbClr val="A4A3A4"/>
          </p15:clr>
        </p15:guide>
        <p15:guide id="17" orient="horz" pos="690">
          <p15:clr>
            <a:srgbClr val="A4A3A4"/>
          </p15:clr>
        </p15:guide>
        <p15:guide id="18" orient="horz" pos="6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99" autoAdjust="0"/>
  </p:normalViewPr>
  <p:slideViewPr>
    <p:cSldViewPr snapToGrid="0" snapToObjects="1">
      <p:cViewPr varScale="1">
        <p:scale>
          <a:sx n="116" d="100"/>
          <a:sy n="116" d="100"/>
        </p:scale>
        <p:origin x="60" y="42"/>
      </p:cViewPr>
      <p:guideLst>
        <p:guide orient="horz" pos="702"/>
        <p:guide orient="horz" pos="3027"/>
        <p:guide orient="horz" pos="166"/>
        <p:guide orient="horz" pos="573"/>
        <p:guide orient="horz" pos="2765"/>
        <p:guide orient="horz" pos="480"/>
        <p:guide orient="horz" pos="303"/>
        <p:guide orient="horz" pos="3128"/>
        <p:guide orient="horz" pos="2528"/>
        <p:guide pos="2812"/>
        <p:guide pos="5646"/>
        <p:guide pos="261"/>
        <p:guide pos="2949"/>
        <p:guide pos="113"/>
        <p:guide pos="5500"/>
        <p:guide pos="5281"/>
        <p:guide orient="horz" pos="690"/>
        <p:guide orient="horz" pos="6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57" d="100"/>
          <a:sy n="57" d="100"/>
        </p:scale>
        <p:origin x="2832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0/21/2019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 b="0"/>
            </a:lvl1pPr>
          </a:lstStyle>
          <a:p>
            <a:fld id="{2636F879-443D-410F-A2CF-15E984F48DC2}" type="datetimeFigureOut">
              <a:rPr lang="en-US" smtClean="0"/>
              <a:pPr/>
              <a:t>10/21/2019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TextmasterformatedurchKlickenbearbeiten</a:t>
            </a:r>
            <a:endParaRPr lang="en-US" dirty="0"/>
          </a:p>
          <a:p>
            <a:pPr lvl="1"/>
            <a:r>
              <a:rPr lang="en-US" dirty="0" err="1"/>
              <a:t>ZweiteEbene</a:t>
            </a:r>
            <a:endParaRPr lang="en-US" dirty="0"/>
          </a:p>
          <a:p>
            <a:pPr lvl="2"/>
            <a:r>
              <a:rPr lang="en-US" dirty="0" err="1"/>
              <a:t>DritteEbene</a:t>
            </a:r>
            <a:endParaRPr lang="en-US" dirty="0"/>
          </a:p>
          <a:p>
            <a:pPr lvl="3"/>
            <a:r>
              <a:rPr lang="en-US" dirty="0" err="1"/>
              <a:t>VierteEbene</a:t>
            </a:r>
            <a:endParaRPr lang="en-US" dirty="0"/>
          </a:p>
          <a:p>
            <a:pPr lvl="4"/>
            <a:r>
              <a:rPr lang="en-US" dirty="0" err="1"/>
              <a:t>Fünfte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8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40000" indent="-18000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b="0"/>
              <a:t>Notice </a:t>
            </a:r>
            <a:fld id="{AE19FBA5-BE7F-4824-B54D-C07EBA2A4967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142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>
            <a:off x="177800" y="3707288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9512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6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4510483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1767375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/>
              <a:t>Subline in one or two lines, Arial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254939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Arial,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10" name="Titel 13"/>
          <p:cNvSpPr>
            <a:spLocks noGrp="1"/>
          </p:cNvSpPr>
          <p:nvPr>
            <p:ph type="title" hasCustomPrompt="1"/>
          </p:nvPr>
        </p:nvSpPr>
        <p:spPr>
          <a:xfrm>
            <a:off x="414000" y="381601"/>
            <a:ext cx="8316000" cy="1385999"/>
          </a:xfrm>
        </p:spPr>
        <p:txBody>
          <a:bodyPr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de-DE" dirty="0"/>
              <a:t>SAMPLE TITLE ONE OR</a:t>
            </a:r>
            <a:br>
              <a:rPr lang="de-DE" dirty="0"/>
            </a:br>
            <a:r>
              <a:rPr lang="de-DE" dirty="0"/>
              <a:t>TWO LINES, Arial, 37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2678798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DHL Business Unit – Business Unit Descriptor, Arial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994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Gerade Verbindung 11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4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361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| Location | xx Month 20xx</a:t>
            </a:r>
          </a:p>
        </p:txBody>
      </p:sp>
      <p:sp>
        <p:nvSpPr>
          <p:cNvPr id="15" name="Textfeld 14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9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414337" y="1093909"/>
            <a:ext cx="4050000" cy="328729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12"/>
          </p:nvPr>
        </p:nvSpPr>
        <p:spPr>
          <a:xfrm>
            <a:off x="4681538" y="1093909"/>
            <a:ext cx="4050000" cy="328729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7" y="1093909"/>
            <a:ext cx="4050000" cy="3208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algn="ctr"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sp>
        <p:nvSpPr>
          <p:cNvPr id="26" name="Titel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21"/>
          </p:nvPr>
        </p:nvSpPr>
        <p:spPr>
          <a:xfrm>
            <a:off x="414338" y="1093909"/>
            <a:ext cx="4050000" cy="32878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7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ltGray">
          <a:xfrm>
            <a:off x="4681538" y="1093909"/>
            <a:ext cx="4050000" cy="1876091"/>
          </a:xfrm>
          <a:prstGeom prst="rect">
            <a:avLst/>
          </a:prstGeom>
          <a:solidFill>
            <a:schemeClr val="accent1"/>
          </a:solidFill>
        </p:spPr>
        <p:txBody>
          <a:bodyPr lIns="360000" tIns="720000" rIns="360000" anchor="t" anchorCtr="1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Bildplatzhalter 11"/>
          <p:cNvSpPr>
            <a:spLocks noGrp="1"/>
          </p:cNvSpPr>
          <p:nvPr>
            <p:ph type="pic" sz="quarter" idx="17"/>
          </p:nvPr>
        </p:nvSpPr>
        <p:spPr bwMode="ltGray">
          <a:xfrm>
            <a:off x="467898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17" name="Bildplatzhalter 11"/>
          <p:cNvSpPr>
            <a:spLocks noGrp="1"/>
          </p:cNvSpPr>
          <p:nvPr>
            <p:ph type="pic" sz="quarter" idx="18"/>
          </p:nvPr>
        </p:nvSpPr>
        <p:spPr bwMode="ltGray">
          <a:xfrm>
            <a:off x="6769538" y="3077288"/>
            <a:ext cx="1962000" cy="1242000"/>
          </a:xfrm>
          <a:prstGeom prst="rect">
            <a:avLst/>
          </a:prstGeom>
          <a:solidFill>
            <a:schemeClr val="accent1"/>
          </a:solidFill>
        </p:spPr>
        <p:txBody>
          <a:bodyPr lIns="0" tIns="0" rIns="0" bIns="0" anchor="ctr" anchorCtr="1"/>
          <a:lstStyle>
            <a:lvl1pPr algn="ctr">
              <a:defRPr sz="1000"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el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25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26" name="Textfeld 25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14338" y="1093909"/>
            <a:ext cx="4049712" cy="32878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 bwMode="hidden">
          <a:xfrm>
            <a:off x="414000" y="2914161"/>
            <a:ext cx="5256000" cy="177213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0000">
                <a:srgbClr val="FFCC00"/>
              </a:gs>
              <a:gs pos="100000">
                <a:srgbClr val="FFCC00"/>
              </a:gs>
            </a:gsLst>
            <a:lin ang="5400000" scaled="0"/>
          </a:gradFill>
        </p:spPr>
        <p:txBody>
          <a:bodyPr lIns="180000" tIns="432000" rIns="180000" bIns="180000" anchor="b" anchorCtr="0">
            <a:spAutoFit/>
          </a:bodyPr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The box adjusts itself to the inserted text. Arial, 25 pt”</a:t>
            </a:r>
            <a:endParaRPr lang="en-US" noProof="0" dirty="0"/>
          </a:p>
        </p:txBody>
      </p:sp>
      <p:sp>
        <p:nvSpPr>
          <p:cNvPr id="9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51000"/>
            <a:ext cx="8316000" cy="3240000"/>
          </a:xfrm>
          <a:prstGeom prst="rect">
            <a:avLst/>
          </a:prstGeom>
        </p:spPr>
        <p:txBody>
          <a:bodyPr lIns="900000" rIns="900000" anchor="ctr"/>
          <a:lstStyle>
            <a:lvl1pPr>
              <a:lnSpc>
                <a:spcPct val="100000"/>
              </a:lnSpc>
              <a:defRPr sz="2500" cap="none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25 pt”</a:t>
            </a:r>
            <a:endParaRPr lang="en-US" noProof="0" dirty="0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12" name="Textfeld 11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261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14000" y="1093909"/>
            <a:ext cx="8316000" cy="299823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b="1" baseline="0"/>
            </a:lvl1pPr>
            <a:lvl2pPr>
              <a:spcAft>
                <a:spcPts val="0"/>
              </a:spcAft>
              <a:buFontTx/>
              <a:buNone/>
              <a:defRPr sz="1200" b="0" baseline="0"/>
            </a:lvl2pPr>
            <a:lvl3pPr>
              <a:spcAft>
                <a:spcPts val="0"/>
              </a:spcAft>
              <a:buClr>
                <a:schemeClr val="tx1"/>
              </a:buClr>
              <a:defRPr sz="1200" baseline="0"/>
            </a:lvl3pPr>
            <a:lvl4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4pPr>
            <a:lvl5pPr>
              <a:spcAft>
                <a:spcPts val="0"/>
              </a:spcAft>
              <a:buClr>
                <a:schemeClr val="tx1"/>
              </a:buClr>
              <a:buFont typeface="Arial" pitchFamily="34" charset="0"/>
              <a:buChar char="–"/>
              <a:defRPr sz="1200" baseline="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6" name="Rechteck 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Gerade Verbindung 12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6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17" name="Textfeld 16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 baseline="0"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9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33912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8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12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8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083600"/>
            <a:ext cx="8316000" cy="54000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0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00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414000" y="2988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 flip="none" rotWithShape="1"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425600"/>
            <a:ext cx="8316000" cy="540000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ts val="5500"/>
              </a:lnSpc>
              <a:defRPr sz="4200" cap="all" baseline="0">
                <a:solidFill>
                  <a:srgbClr val="D40511"/>
                </a:solidFill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 userDrawn="1"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74359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2"/>
          <p:cNvSpPr>
            <a:spLocks noGrp="1"/>
          </p:cNvSpPr>
          <p:nvPr>
            <p:ph type="pic" sz="quarter" idx="8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360000" tIns="0" rIns="360000" bIns="1800000" anchor="b" anchorCtr="0"/>
          <a:lstStyle>
            <a:lvl1pPr algn="ctr"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7"/>
          </p:nvPr>
        </p:nvSpPr>
        <p:spPr bwMode="hidden">
          <a:xfrm rot="10800000">
            <a:off x="180000" y="180000"/>
            <a:ext cx="8784000" cy="126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9144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3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752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4666226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6" hasCustomPrompt="1"/>
          </p:nvPr>
        </p:nvSpPr>
        <p:spPr bwMode="gray">
          <a:xfrm>
            <a:off x="6876000" y="385200"/>
            <a:ext cx="1800000" cy="25951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3004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/>
              <a:t>Subline in one or two lines, Arial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9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Arial,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11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213859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DHL Business Unit – Business Unit Descriptor, Arial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3363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9"/>
          <p:cNvSpPr>
            <a:spLocks noGrp="1"/>
          </p:cNvSpPr>
          <p:nvPr>
            <p:ph type="title" hasCustomPrompt="1"/>
          </p:nvPr>
        </p:nvSpPr>
        <p:spPr>
          <a:xfrm>
            <a:off x="414000" y="828000"/>
            <a:ext cx="8316000" cy="1385999"/>
          </a:xfrm>
          <a:noFill/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AMPLE TITLE ONE OR </a:t>
            </a:r>
            <a:br>
              <a:rPr lang="en-US" dirty="0"/>
            </a:br>
            <a:r>
              <a:rPr lang="en-US" dirty="0"/>
              <a:t>TWO LINES, Arial, 37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414000" y="4593600"/>
            <a:ext cx="5760000" cy="216165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lnSpc>
                <a:spcPct val="100000"/>
              </a:lnSpc>
              <a:spcAft>
                <a:spcPts val="0"/>
              </a:spcAft>
              <a:defRPr sz="1200" b="1"/>
            </a:lvl1pPr>
          </a:lstStyle>
          <a:p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76000" y="4517514"/>
            <a:ext cx="1800000" cy="259517"/>
          </a:xfrm>
          <a:prstGeom prst="rect">
            <a:avLst/>
          </a:prstGeom>
          <a:noFill/>
        </p:spPr>
      </p:pic>
      <p:sp>
        <p:nvSpPr>
          <p:cNvPr id="7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414000" y="2214000"/>
            <a:ext cx="8316000" cy="487838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3200" rIns="0" bIns="1656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95363" rtl="0" eaLnBrk="0" fontAlgn="base" latinLnBrk="0" hangingPunct="0">
              <a:lnSpc>
                <a:spcPct val="100000"/>
              </a:lnSpc>
              <a:spcAft>
                <a:spcPts val="0"/>
              </a:spcAft>
              <a:defRPr sz="1800"/>
            </a:lvl1pPr>
            <a:lvl2pPr marL="0" algn="l" defTabSz="995363" rtl="0" eaLnBrk="0" fontAlgn="base" latinLnBrk="0" hangingPunct="0">
              <a:spcAft>
                <a:spcPts val="1600"/>
              </a:spcAft>
              <a:defRPr lang="en-US" sz="20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995363" rtl="0" eaLnBrk="0" fontAlgn="base" latinLnBrk="0" hangingPunct="0"/>
            <a:r>
              <a:rPr lang="en-US" dirty="0"/>
              <a:t>Subline in one or two lines, Arial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414000" y="2700000"/>
            <a:ext cx="8316000" cy="42385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5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Name of the event or project or presenter, Arial,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8" name="meta-descriptor"/>
          <p:cNvSpPr>
            <a:spLocks noGrp="1"/>
          </p:cNvSpPr>
          <p:nvPr>
            <p:ph type="body" sz="quarter" idx="10" hasCustomPrompt="1"/>
          </p:nvPr>
        </p:nvSpPr>
        <p:spPr>
          <a:xfrm>
            <a:off x="414000" y="3123860"/>
            <a:ext cx="8316000" cy="35533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000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12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1600"/>
              </a:spcAft>
              <a:defRPr sz="2000" b="0" baseline="0"/>
            </a:lvl2pPr>
          </a:lstStyle>
          <a:p>
            <a:r>
              <a:rPr lang="en-US" dirty="0"/>
              <a:t>DHL Business Unit – Business Unit Descriptor, Arial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456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/>
          <p:cNvSpPr>
            <a:spLocks noGrp="1"/>
          </p:cNvSpPr>
          <p:nvPr>
            <p:ph type="pic" sz="quarter" idx="12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lang="en-US" sz="100" b="1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400"/>
              </a:spcAft>
              <a:buFont typeface="Arial" pitchFamily="34" charset="0"/>
              <a:buNone/>
            </a:pPr>
            <a:endParaRPr lang="en-US"/>
          </a:p>
        </p:txBody>
      </p:sp>
      <p:sp>
        <p:nvSpPr>
          <p:cNvPr id="11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12" name="Foliennummernplatzhalter 26"/>
          <p:cNvSpPr>
            <a:spLocks noGrp="1"/>
          </p:cNvSpPr>
          <p:nvPr>
            <p:ph type="sldNum" sz="quarter" idx="4"/>
          </p:nvPr>
        </p:nvSpPr>
        <p:spPr bwMode="gray">
          <a:xfrm>
            <a:off x="8370286" y="4644000"/>
            <a:ext cx="362863" cy="15619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8557CD76-CD08-4D96-8C1E-56B746A3F9F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413999" y="1105200"/>
            <a:ext cx="4248000" cy="1745093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lang="en-US" sz="3700" b="0" i="0" kern="1200" cap="all" baseline="0" dirty="0" smtClean="0">
                <a:solidFill>
                  <a:srgbClr val="D4051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37 pt</a:t>
            </a:r>
          </a:p>
        </p:txBody>
      </p:sp>
      <p:sp>
        <p:nvSpPr>
          <p:cNvPr id="14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4621860"/>
            <a:ext cx="1260000" cy="181662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8"/>
          <p:cNvSpPr>
            <a:spLocks noGrp="1"/>
          </p:cNvSpPr>
          <p:nvPr>
            <p:ph type="pic" sz="quarter" idx="13"/>
          </p:nvPr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2"/>
          </a:solidFill>
        </p:spPr>
        <p:txBody>
          <a:bodyPr lIns="180000" tIns="180000" rIns="180000" bIns="180000" anchor="ctr" anchorCtr="1"/>
          <a:lstStyle>
            <a:lvl1pPr>
              <a:defRPr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 bwMode="hidden">
          <a:xfrm rot="10800000">
            <a:off x="180000" y="180000"/>
            <a:ext cx="8784000" cy="648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</a:gradFill>
        </p:spPr>
        <p:txBody>
          <a:bodyPr anchor="b"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4000" y="4593600"/>
            <a:ext cx="2021387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Aft>
                <a:spcPts val="0"/>
              </a:spcAft>
              <a:defRPr lang="en-US" sz="8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pPr lvl="0"/>
            <a:r>
              <a:rPr lang="en-US" dirty="0"/>
              <a:t>PLEASE INSERT CLASSIFICATION HERE</a:t>
            </a: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414000" y="324000"/>
            <a:ext cx="1260000" cy="1816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14000" y="1105200"/>
            <a:ext cx="6155999" cy="1349998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37 pt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87000">
              <a:schemeClr val="accent3"/>
            </a:gs>
            <a:gs pos="0">
              <a:schemeClr val="accent3">
                <a:alpha val="3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| Location | xx Month 20xx</a:t>
            </a:r>
          </a:p>
        </p:txBody>
      </p:sp>
      <p:sp>
        <p:nvSpPr>
          <p:cNvPr id="10" name="Textfeld 9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4000" y="1105199"/>
            <a:ext cx="6156000" cy="1350000"/>
          </a:xfrm>
        </p:spPr>
        <p:txBody>
          <a:bodyPr anchor="t"/>
          <a:lstStyle>
            <a:lvl1pPr>
              <a:lnSpc>
                <a:spcPct val="90000"/>
              </a:lnSpc>
              <a:defRPr sz="3700" cap="all" baseline="0"/>
            </a:lvl1pPr>
          </a:lstStyle>
          <a:p>
            <a:r>
              <a:rPr lang="en-US" dirty="0"/>
              <a:t>section divider with Gradient, Arial, 37 pt</a:t>
            </a:r>
          </a:p>
        </p:txBody>
      </p:sp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1400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</a:p>
        </p:txBody>
      </p:sp>
      <p:sp>
        <p:nvSpPr>
          <p:cNvPr id="9" name="Rechteck 8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10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18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83150" y="1093909"/>
            <a:ext cx="4050000" cy="3126116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6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18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19" name="Textfeld 18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 dirty="0"/>
          </a:p>
        </p:txBody>
      </p: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3999" y="1093909"/>
            <a:ext cx="4050000" cy="2008800"/>
          </a:xfrm>
          <a:prstGeom prst="rect">
            <a:avLst/>
          </a:prstGeom>
        </p:spPr>
        <p:txBody>
          <a:bodyPr lIns="0" tIns="0" rIns="0" bIns="0"/>
          <a:lstStyle>
            <a:lvl1pPr marL="266700" marR="0" indent="-26670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lang="en-US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0" algn="l" defTabSz="914400" rtl="0" eaLnBrk="1" fontAlgn="auto" latinLnBrk="0" hangingPunct="1">
              <a:lnSpc>
                <a:spcPct val="100000"/>
              </a:lnSpc>
              <a:spcAft>
                <a:spcPts val="500"/>
              </a:spcAft>
              <a:buClrTx/>
              <a:buSzTx/>
              <a:buFontTx/>
              <a:buNone/>
              <a:tabLst/>
              <a:defRPr lang="en-US" sz="12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6700" marR="0" algn="l" defTabSz="914400" rtl="0" eaLnBrk="1" fontAlgn="auto" latinLnBrk="0" hangingPunct="1">
              <a:lnSpc>
                <a:spcPct val="100000"/>
              </a:lnSpc>
              <a:buClrTx/>
              <a:buSzTx/>
              <a:buFont typeface="Arial" pitchFamily="34" charset="0"/>
              <a:buChar char="–"/>
              <a:tabLst/>
              <a:defRPr lang="en-US" sz="14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psum</a:t>
            </a:r>
            <a:r>
              <a:rPr lang="fr-FR" dirty="0"/>
              <a:t> </a:t>
            </a:r>
            <a:r>
              <a:rPr lang="fr-FR" dirty="0" err="1"/>
              <a:t>dolore</a:t>
            </a:r>
            <a:r>
              <a:rPr lang="fr-FR" dirty="0"/>
              <a:t> est consista</a:t>
            </a:r>
            <a:endParaRPr lang="en-US" dirty="0"/>
          </a:p>
        </p:txBody>
      </p:sp>
      <p:sp>
        <p:nvSpPr>
          <p:cNvPr id="23" name="Bildplatzhalter 9"/>
          <p:cNvSpPr>
            <a:spLocks noGrp="1"/>
          </p:cNvSpPr>
          <p:nvPr>
            <p:ph type="pic" sz="quarter" idx="12"/>
          </p:nvPr>
        </p:nvSpPr>
        <p:spPr bwMode="ltGray">
          <a:xfrm>
            <a:off x="385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4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5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5" name="Bildplatzhalter 9"/>
          <p:cNvSpPr>
            <a:spLocks noGrp="1"/>
          </p:cNvSpPr>
          <p:nvPr>
            <p:ph type="pic" sz="quarter" idx="14"/>
          </p:nvPr>
        </p:nvSpPr>
        <p:spPr bwMode="ltGray">
          <a:xfrm>
            <a:off x="5520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6" name="Textplatzhalt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520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7" name="Bildplatzhalter 9"/>
          <p:cNvSpPr>
            <a:spLocks noGrp="1"/>
          </p:cNvSpPr>
          <p:nvPr>
            <p:ph type="pic" sz="quarter" idx="16"/>
          </p:nvPr>
        </p:nvSpPr>
        <p:spPr bwMode="ltGray">
          <a:xfrm>
            <a:off x="7185150" y="3410025"/>
            <a:ext cx="1548000" cy="810000"/>
          </a:xfrm>
          <a:prstGeom prst="rect">
            <a:avLst/>
          </a:prstGeom>
          <a:solidFill>
            <a:schemeClr val="tx2"/>
          </a:solidFill>
        </p:spPr>
        <p:txBody>
          <a:bodyPr wrap="square" lIns="90000" tIns="90000" rIns="90000" bIns="90000"/>
          <a:lstStyle>
            <a:lvl1pPr>
              <a:defRPr sz="1000" b="0"/>
            </a:lvl1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28" name="Textplatzhalter 11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185150" y="3140025"/>
            <a:ext cx="1548000" cy="270000"/>
          </a:xfrm>
          <a:prstGeom prst="rect">
            <a:avLst/>
          </a:prstGeom>
        </p:spPr>
        <p:txBody>
          <a:bodyPr bIns="72000" anchor="b" anchorCtr="0"/>
          <a:lstStyle>
            <a:lvl1pPr>
              <a:lnSpc>
                <a:spcPct val="100000"/>
              </a:lnSpc>
              <a:spcAft>
                <a:spcPts val="0"/>
              </a:spcAft>
              <a:defRPr sz="800" b="0"/>
            </a:lvl1pPr>
          </a:lstStyle>
          <a:p>
            <a:pPr lvl="0"/>
            <a:r>
              <a:rPr lang="en-US"/>
              <a:t>Section #</a:t>
            </a:r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Presentation title | Location | xx Month 20xx</a:t>
            </a:r>
          </a:p>
        </p:txBody>
      </p:sp>
      <p:sp>
        <p:nvSpPr>
          <p:cNvPr id="33" name="Textfeld 3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38339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/>
        </p:nvSpPr>
        <p:spPr bwMode="hidden">
          <a:xfrm>
            <a:off x="180000" y="4319288"/>
            <a:ext cx="8784000" cy="64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3000">
                <a:schemeClr val="accent3">
                  <a:alpha val="77000"/>
                </a:schemeClr>
              </a:gs>
              <a:gs pos="50000">
                <a:schemeClr val="accent3">
                  <a:alpha val="90000"/>
                </a:schemeClr>
              </a:gs>
              <a:gs pos="69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44000" tIns="144000" rIns="144000" bIns="144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00" b="0" i="0" u="none" strike="noStrike" cap="none" normalizeH="0" baseline="0" dirty="0">
              <a:ln>
                <a:noFill/>
              </a:ln>
              <a:solidFill>
                <a:schemeClr val="accent3"/>
              </a:solidFill>
              <a:effectLst/>
              <a:latin typeface="Arial" charset="0"/>
            </a:endParaRPr>
          </a:p>
        </p:txBody>
      </p:sp>
      <p:cxnSp>
        <p:nvCxnSpPr>
          <p:cNvPr id="17" name="Gerade Verbindung 16"/>
          <p:cNvCxnSpPr/>
          <p:nvPr/>
        </p:nvCxnSpPr>
        <p:spPr bwMode="gray">
          <a:xfrm>
            <a:off x="414000" y="907200"/>
            <a:ext cx="831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22" name="Fußzeilenplatzhalter 33"/>
          <p:cNvSpPr>
            <a:spLocks noGrp="1"/>
          </p:cNvSpPr>
          <p:nvPr>
            <p:ph type="ftr" sz="quarter" idx="3"/>
          </p:nvPr>
        </p:nvSpPr>
        <p:spPr bwMode="gray"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marR="0" indent="0" algn="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 | Location | xx Month 20xx</a:t>
            </a:r>
          </a:p>
        </p:txBody>
      </p:sp>
      <p:sp>
        <p:nvSpPr>
          <p:cNvPr id="23" name="Textfeld 22"/>
          <p:cNvSpPr txBox="1"/>
          <p:nvPr/>
        </p:nvSpPr>
        <p:spPr bwMode="gray">
          <a:xfrm>
            <a:off x="8369012" y="4644000"/>
            <a:ext cx="364138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DBBD357C-3BDF-4D0D-BAB2-A0C0592CF60E}" type="slidenum">
              <a:rPr lang="en-US" sz="1000" smtClean="0"/>
              <a:pPr algn="r"/>
              <a:t>‹#›</a:t>
            </a:fld>
            <a:endParaRPr lang="en-US" sz="100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1"/>
          </p:nvPr>
        </p:nvSpPr>
        <p:spPr>
          <a:xfrm>
            <a:off x="414338" y="1093909"/>
            <a:ext cx="8318500" cy="3287591"/>
          </a:xfrm>
        </p:spPr>
        <p:txBody>
          <a:bodyPr/>
          <a:lstStyle>
            <a:lvl3pPr>
              <a:defRPr/>
            </a:lvl3pPr>
            <a:lvl4pPr>
              <a:defRPr/>
            </a:lvl4pPr>
            <a:lvl5pPr marL="0" indent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pic>
        <p:nvPicPr>
          <p:cNvPr id="13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414000" y="4621860"/>
            <a:ext cx="1260000" cy="1818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366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kt 32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85841879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" name="think-cell Folie" r:id="rId23" imgW="360" imgH="360" progId="TCLayout.ActiveDocument.1">
                  <p:embed/>
                </p:oleObj>
              </mc:Choice>
              <mc:Fallback>
                <p:oleObj name="think-cell Folie" r:id="rId23" imgW="360" imgH="36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platzhalter 23"/>
          <p:cNvSpPr>
            <a:spLocks noGrp="1"/>
          </p:cNvSpPr>
          <p:nvPr>
            <p:ph type="title"/>
          </p:nvPr>
        </p:nvSpPr>
        <p:spPr>
          <a:xfrm>
            <a:off x="414000" y="190897"/>
            <a:ext cx="8316000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idx="1"/>
          </p:nvPr>
        </p:nvSpPr>
        <p:spPr>
          <a:xfrm>
            <a:off x="414000" y="1093909"/>
            <a:ext cx="8316000" cy="329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6" name="meta-classification"/>
          <p:cNvSpPr txBox="1"/>
          <p:nvPr/>
        </p:nvSpPr>
        <p:spPr>
          <a:xfrm>
            <a:off x="414000" y="0"/>
            <a:ext cx="381515" cy="206719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/>
          <a:p>
            <a:pPr lvl="0"/>
            <a:r>
              <a:rPr lang="en-US" sz="800" b="1" dirty="0">
                <a:solidFill>
                  <a:schemeClr val="accent1"/>
                </a:solidFill>
              </a:rPr>
              <a:t>PUBLIC</a:t>
            </a:r>
          </a:p>
        </p:txBody>
      </p:sp>
      <p:grpSp>
        <p:nvGrpSpPr>
          <p:cNvPr id="27" name="dpic_guideLines" hidden="1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cxnSp>
          <p:nvCxnSpPr>
            <p:cNvPr id="28" name="Gerade Verbindung 27" hidden="1"/>
            <p:cNvCxnSpPr/>
            <p:nvPr/>
          </p:nvCxnSpPr>
          <p:spPr bwMode="gray">
            <a:xfrm>
              <a:off x="41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Gerade Verbindung 28" hidden="1"/>
            <p:cNvCxnSpPr/>
            <p:nvPr/>
          </p:nvCxnSpPr>
          <p:spPr bwMode="gray">
            <a:xfrm>
              <a:off x="873000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0" name="Gerade Verbindung 29" hidden="1"/>
            <p:cNvCxnSpPr/>
            <p:nvPr/>
          </p:nvCxnSpPr>
          <p:spPr bwMode="gray">
            <a:xfrm>
              <a:off x="4463255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30" hidden="1"/>
            <p:cNvCxnSpPr/>
            <p:nvPr/>
          </p:nvCxnSpPr>
          <p:spPr bwMode="gray">
            <a:xfrm>
              <a:off x="4679950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31" hidden="1"/>
            <p:cNvCxnSpPr/>
            <p:nvPr/>
          </p:nvCxnSpPr>
          <p:spPr bwMode="gray">
            <a:xfrm>
              <a:off x="0" y="477524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Gerade Verbindung 33" hidden="1"/>
            <p:cNvCxnSpPr/>
            <p:nvPr/>
          </p:nvCxnSpPr>
          <p:spPr bwMode="gray">
            <a:xfrm>
              <a:off x="0" y="4802188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Gerade Verbindung 34" hidden="1"/>
            <p:cNvCxnSpPr/>
            <p:nvPr/>
          </p:nvCxnSpPr>
          <p:spPr bwMode="gray">
            <a:xfrm>
              <a:off x="0" y="759612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Gerade Verbindung 35" hidden="1"/>
            <p:cNvCxnSpPr/>
            <p:nvPr/>
          </p:nvCxnSpPr>
          <p:spPr bwMode="gray">
            <a:xfrm>
              <a:off x="0" y="1089945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Gerade Verbindung 36" hidden="1"/>
            <p:cNvCxnSpPr/>
            <p:nvPr/>
          </p:nvCxnSpPr>
          <p:spPr bwMode="gray">
            <a:xfrm>
              <a:off x="0" y="262743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Gerade Verbindung 37" hidden="1"/>
            <p:cNvCxnSpPr/>
            <p:nvPr/>
          </p:nvCxnSpPr>
          <p:spPr bwMode="gray">
            <a:xfrm>
              <a:off x="0" y="400918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Gerade Verbindung 38" hidden="1"/>
            <p:cNvCxnSpPr/>
            <p:nvPr/>
          </p:nvCxnSpPr>
          <p:spPr bwMode="gray">
            <a:xfrm>
              <a:off x="0" y="4962021"/>
              <a:ext cx="9144000" cy="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Gerade Verbindung 39" hidden="1"/>
            <p:cNvCxnSpPr/>
            <p:nvPr/>
          </p:nvCxnSpPr>
          <p:spPr bwMode="gray">
            <a:xfrm>
              <a:off x="8961619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Gerade Verbindung 40" hidden="1"/>
            <p:cNvCxnSpPr/>
            <p:nvPr/>
          </p:nvCxnSpPr>
          <p:spPr bwMode="gray">
            <a:xfrm>
              <a:off x="175238" y="0"/>
              <a:ext cx="0" cy="5144400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Gerade Verbindung 41" hidden="1"/>
            <p:cNvCxnSpPr/>
            <p:nvPr/>
          </p:nvCxnSpPr>
          <p:spPr bwMode="gray">
            <a:xfrm>
              <a:off x="2088827" y="433180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Gerade Verbindung 42" hidden="1"/>
            <p:cNvCxnSpPr/>
            <p:nvPr/>
          </p:nvCxnSpPr>
          <p:spPr bwMode="gray">
            <a:xfrm>
              <a:off x="8373450" y="4332330"/>
              <a:ext cx="0" cy="485733"/>
            </a:xfrm>
            <a:prstGeom prst="line">
              <a:avLst/>
            </a:prstGeom>
            <a:solidFill>
              <a:schemeClr val="bg1"/>
            </a:solidFill>
            <a:ln w="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2" name="Fußzeilenplatzhalter 21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 defTabSz="995363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dirty="0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8369013" y="4644000"/>
            <a:ext cx="364137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 marL="0" algn="r" defTabSz="914400" rtl="0" eaLnBrk="1" latinLnBrk="0" hangingPunct="1">
              <a:defRPr lang="en-US" sz="10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537D1FE-6E55-4102-9A9A-3FF2AE236C9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6" r:id="rId4"/>
    <p:sldLayoutId id="2147483678" r:id="rId5"/>
    <p:sldLayoutId id="2147483691" r:id="rId6"/>
    <p:sldLayoutId id="2147483658" r:id="rId7"/>
    <p:sldLayoutId id="2147483659" r:id="rId8"/>
    <p:sldLayoutId id="2147483650" r:id="rId9"/>
    <p:sldLayoutId id="2147483654" r:id="rId10"/>
    <p:sldLayoutId id="2147483686" r:id="rId11"/>
    <p:sldLayoutId id="2147483687" r:id="rId12"/>
    <p:sldLayoutId id="2147483693" r:id="rId13"/>
    <p:sldLayoutId id="2147483668" r:id="rId14"/>
    <p:sldLayoutId id="2147483667" r:id="rId15"/>
    <p:sldLayoutId id="2147483692" r:id="rId16"/>
    <p:sldLayoutId id="2147483674" r:id="rId17"/>
    <p:sldLayoutId id="2147483675" r:id="rId18"/>
    <p:sldLayoutId id="2147483690" r:id="rId1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1800" kern="1200" cap="none" baseline="0">
          <a:solidFill>
            <a:srgbClr val="D40511"/>
          </a:solidFill>
          <a:latin typeface="DeutschePost-MedCn" panose="020B0500000000000000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itchFamily="34" charset="0"/>
        <a:buNone/>
        <a:defRPr sz="1200" b="0" kern="1200" baseline="0">
          <a:solidFill>
            <a:schemeClr val="tx1"/>
          </a:solidFill>
          <a:latin typeface="Delivery" panose="020F0503020204020204" pitchFamily="34" charset="0"/>
          <a:ea typeface="+mn-ea"/>
          <a:cs typeface="+mn-cs"/>
        </a:defRPr>
      </a:lvl1pPr>
      <a:lvl2pPr marL="180000" marR="0" indent="-180000" algn="l" defTabSz="914400" rtl="0" eaLnBrk="1" fontAlgn="auto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SzTx/>
        <a:buFont typeface="Arial" pitchFamily="34" charset="0"/>
        <a:buChar char="•"/>
        <a:tabLst/>
        <a:defRPr sz="1200" b="0" i="0" kern="1200" baseline="0">
          <a:solidFill>
            <a:schemeClr val="tx1"/>
          </a:solidFill>
          <a:latin typeface="Delivery" panose="020F0503020204020204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Delivery" panose="020F0503020204020204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Tx/>
        <a:buFont typeface="Arial" pitchFamily="34" charset="0"/>
        <a:buChar char="–"/>
        <a:defRPr sz="1200" kern="1200">
          <a:solidFill>
            <a:schemeClr val="tx1"/>
          </a:solidFill>
          <a:latin typeface="Delivery" panose="020F05030202040202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400"/>
        </a:spcAft>
        <a:buFontTx/>
        <a:buNone/>
        <a:defRPr sz="1600" b="1" kern="1200" baseline="0">
          <a:solidFill>
            <a:schemeClr val="tx1"/>
          </a:solidFill>
          <a:latin typeface="Delivery" panose="020F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2.jpg"/><Relationship Id="rId4" Type="http://schemas.openxmlformats.org/officeDocument/2006/relationships/image" Target="../media/image11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W:\04. DHL BRAND Images\01. DANSKE DHL billeder\Low res\Bondeidyl (3)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-1816"/>
            <a:ext cx="9144000" cy="6098977"/>
          </a:xfrm>
          <a:prstGeom prst="rect">
            <a:avLst/>
          </a:prstGeom>
          <a:noFill/>
        </p:spPr>
      </p:pic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7"/>
          <p:cNvSpPr>
            <a:spLocks noGrp="1"/>
          </p:cNvSpPr>
          <p:nvPr>
            <p:ph type="body" sz="quarter" idx="7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414000" y="168904"/>
            <a:ext cx="8316000" cy="704849"/>
          </a:xfrm>
        </p:spPr>
        <p:txBody>
          <a:bodyPr/>
          <a:lstStyle/>
          <a:p>
            <a:r>
              <a:rPr lang="de-DE" dirty="0">
                <a:latin typeface="DeutschePost-MedCn" panose="020B0500000000000000" pitchFamily="34" charset="0"/>
              </a:rPr>
              <a:t>Dhl express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"/>
          </p:nvPr>
        </p:nvSpPr>
        <p:spPr>
          <a:xfrm>
            <a:off x="414000" y="4666226"/>
            <a:ext cx="381515" cy="206719"/>
          </a:xfrm>
        </p:spPr>
        <p:txBody>
          <a:bodyPr/>
          <a:lstStyle/>
          <a:p>
            <a:r>
              <a:rPr lang="de-DE" dirty="0">
                <a:solidFill>
                  <a:schemeClr val="bg1"/>
                </a:solidFill>
              </a:rPr>
              <a:t>public</a:t>
            </a: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5"/>
          </p:nvPr>
        </p:nvSpPr>
        <p:spPr>
          <a:xfrm>
            <a:off x="461625" y="753873"/>
            <a:ext cx="8316000" cy="487838"/>
          </a:xfrm>
        </p:spPr>
        <p:txBody>
          <a:bodyPr/>
          <a:lstStyle/>
          <a:p>
            <a:r>
              <a:rPr lang="de-DE" dirty="0"/>
              <a:t>– en </a:t>
            </a:r>
            <a:r>
              <a:rPr lang="de-DE" dirty="0" err="1"/>
              <a:t>glad</a:t>
            </a:r>
            <a:r>
              <a:rPr lang="de-DE" dirty="0"/>
              <a:t> arbejdsplads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3"/>
          </p:nvPr>
        </p:nvSpPr>
        <p:spPr>
          <a:xfrm>
            <a:off x="414000" y="4263358"/>
            <a:ext cx="8316000" cy="400776"/>
          </a:xfrm>
        </p:spPr>
        <p:txBody>
          <a:bodyPr/>
          <a:lstStyle/>
          <a:p>
            <a:r>
              <a:rPr lang="de-DE" b="1" dirty="0">
                <a:solidFill>
                  <a:schemeClr val="bg1"/>
                </a:solidFill>
                <a:latin typeface="Delivery" panose="020F0503020204020204" pitchFamily="34" charset="0"/>
              </a:rPr>
              <a:t>BAUs </a:t>
            </a:r>
            <a:r>
              <a:rPr lang="de-DE" b="1" dirty="0" err="1">
                <a:solidFill>
                  <a:schemeClr val="bg1"/>
                </a:solidFill>
                <a:latin typeface="Delivery" panose="020F0503020204020204" pitchFamily="34" charset="0"/>
              </a:rPr>
              <a:t>årsmøde</a:t>
            </a:r>
            <a:r>
              <a:rPr lang="de-DE" b="1" dirty="0">
                <a:solidFill>
                  <a:schemeClr val="bg1"/>
                </a:solidFill>
                <a:latin typeface="Delivery" panose="020F0503020204020204" pitchFamily="34" charset="0"/>
              </a:rPr>
              <a:t> 22. </a:t>
            </a:r>
            <a:r>
              <a:rPr lang="de-DE" b="1" dirty="0" err="1">
                <a:solidFill>
                  <a:schemeClr val="bg1"/>
                </a:solidFill>
                <a:latin typeface="Delivery" panose="020F0503020204020204" pitchFamily="34" charset="0"/>
              </a:rPr>
              <a:t>oktober</a:t>
            </a:r>
            <a:r>
              <a:rPr lang="de-DE" b="1" dirty="0">
                <a:solidFill>
                  <a:schemeClr val="bg1"/>
                </a:solidFill>
                <a:latin typeface="Delivery" panose="020F0503020204020204" pitchFamily="34" charset="0"/>
              </a:rPr>
              <a:t> 2019</a:t>
            </a:r>
          </a:p>
          <a:p>
            <a:r>
              <a:rPr lang="de-DE" sz="1050" b="1" i="1" dirty="0">
                <a:solidFill>
                  <a:schemeClr val="bg1"/>
                </a:solidFill>
                <a:latin typeface="Delivery" panose="020F0503020204020204" pitchFamily="34" charset="0"/>
              </a:rPr>
              <a:t>Pia Baagø Skat-Rørdam</a:t>
            </a:r>
            <a:endParaRPr lang="de-DE" b="1" i="1" dirty="0">
              <a:solidFill>
                <a:schemeClr val="bg1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81352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DVARSEL: Det kunne gå hen og blive sjovt!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sp>
        <p:nvSpPr>
          <p:cNvPr id="14" name="AutoShape 2" descr="http://resources.mynewsdesk.com/image/upload/c_limit,dpr_0.75,f_auto,h_700,q_auto,w_690/y8lmg3hgxxaevj9ioquu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9222" y="1060315"/>
            <a:ext cx="5140778" cy="3404681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414000" y="1060315"/>
            <a:ext cx="317522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400" dirty="0">
                <a:latin typeface="DeutschePost-MedCn" panose="020B0500000000000000" pitchFamily="34" charset="0"/>
              </a:rPr>
              <a:t>Er du, dine ledere og dine kolleger klar til at blive glade på arbejde?</a:t>
            </a:r>
            <a:endParaRPr lang="da-DK" sz="2100" dirty="0">
              <a:latin typeface="DeutschePost-MedCn" panose="020B0500000000000000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68300" y="3473595"/>
            <a:ext cx="31752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400" dirty="0">
                <a:latin typeface="DeutschePost-MedCn" panose="020B0500000000000000" pitchFamily="34" charset="0"/>
              </a:rPr>
              <a:t>God rejse!</a:t>
            </a:r>
            <a:endParaRPr lang="da-DK" sz="2100" dirty="0">
              <a:latin typeface="DeutschePost-MedCn" panose="020B05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671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414000" y="1695600"/>
            <a:ext cx="8316000" cy="1378340"/>
          </a:xfrm>
        </p:spPr>
        <p:txBody>
          <a:bodyPr/>
          <a:lstStyle/>
          <a:p>
            <a:pPr algn="ctr"/>
            <a:r>
              <a:rPr lang="en-US" dirty="0"/>
              <a:t>Mange </a:t>
            </a:r>
            <a:r>
              <a:rPr lang="en-US" dirty="0" err="1"/>
              <a:t>tak</a:t>
            </a:r>
            <a:r>
              <a:rPr lang="en-US" dirty="0"/>
              <a:t> for din </a:t>
            </a:r>
            <a:r>
              <a:rPr lang="en-US" dirty="0" err="1"/>
              <a:t>tid</a:t>
            </a:r>
            <a:br>
              <a:rPr lang="en-US" dirty="0"/>
            </a:br>
            <a:r>
              <a:rPr lang="en-US" sz="2800" dirty="0"/>
              <a:t>..og </a:t>
            </a:r>
            <a:r>
              <a:rPr lang="en-US" sz="2800" dirty="0" err="1"/>
              <a:t>fortsat</a:t>
            </a:r>
            <a:r>
              <a:rPr lang="en-US" sz="2800" dirty="0"/>
              <a:t> god </a:t>
            </a:r>
            <a:r>
              <a:rPr lang="en-US" sz="2800" dirty="0" err="1"/>
              <a:t>årsdag</a:t>
            </a:r>
            <a:r>
              <a:rPr lang="en-US" sz="2800" dirty="0"/>
              <a:t> </a:t>
            </a:r>
            <a:r>
              <a:rPr lang="en-US" sz="2800" dirty="0">
                <a:sym typeface="Wingdings" panose="05000000000000000000" pitchFamily="2" charset="2"/>
              </a:rPr>
              <a:t>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1490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Medarbejderne siger.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414338" y="1219200"/>
            <a:ext cx="5592404" cy="1019175"/>
          </a:xfrm>
        </p:spPr>
        <p:txBody>
          <a:bodyPr/>
          <a:lstStyle/>
          <a:p>
            <a:r>
              <a:rPr lang="da-DK" b="1" dirty="0"/>
              <a:t>Alt taget i betragtning mener jeg, at det er et rigtigt godt sted at arbejde</a:t>
            </a:r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r>
              <a:rPr lang="da-DK" b="1" dirty="0"/>
              <a:t>Jeg vil varmt anbefale min arbejdsplads til venner og familie som et godt sted at arbejde.</a:t>
            </a:r>
          </a:p>
          <a:p>
            <a:endParaRPr lang="da-DK" b="1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6742" y="333375"/>
            <a:ext cx="2792771" cy="412432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TextBox 13"/>
          <p:cNvSpPr txBox="1"/>
          <p:nvPr/>
        </p:nvSpPr>
        <p:spPr>
          <a:xfrm>
            <a:off x="2028825" y="1543050"/>
            <a:ext cx="1857375" cy="9369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6000" dirty="0">
                <a:solidFill>
                  <a:schemeClr val="accent3"/>
                </a:solidFill>
              </a:rPr>
              <a:t>96%</a:t>
            </a:r>
            <a:endParaRPr lang="da-DK" sz="1200" dirty="0">
              <a:solidFill>
                <a:schemeClr val="accent3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028825" y="3352800"/>
            <a:ext cx="1857375" cy="9369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6000" dirty="0">
                <a:solidFill>
                  <a:schemeClr val="accent4"/>
                </a:solidFill>
              </a:rPr>
              <a:t>94%</a:t>
            </a:r>
            <a:endParaRPr lang="da-DK" sz="1200" dirty="0">
              <a:solidFill>
                <a:schemeClr val="accent4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088826" y="4644000"/>
            <a:ext cx="6281461" cy="156194"/>
          </a:xfrm>
        </p:spPr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</p:spTree>
    <p:extLst>
      <p:ext uri="{BB962C8B-B14F-4D97-AF65-F5344CB8AC3E}">
        <p14:creationId xmlns:p14="http://schemas.microsoft.com/office/powerpoint/2010/main" val="710380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ilosofien bag arbejdsglæde i praksis: Service Profit Chai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4000" y="1065334"/>
            <a:ext cx="8248650" cy="1865141"/>
          </a:xfrm>
          <a:prstGeom prst="rect">
            <a:avLst/>
          </a:prstGeom>
        </p:spPr>
      </p:pic>
      <p:sp>
        <p:nvSpPr>
          <p:cNvPr id="8" name="Bent-Up Arrow 7"/>
          <p:cNvSpPr/>
          <p:nvPr/>
        </p:nvSpPr>
        <p:spPr bwMode="auto">
          <a:xfrm flipH="1">
            <a:off x="1038225" y="2836274"/>
            <a:ext cx="6819900" cy="841425"/>
          </a:xfrm>
          <a:prstGeom prst="bentUpArrow">
            <a:avLst>
              <a:gd name="adj1" fmla="val 25000"/>
              <a:gd name="adj2" fmla="val 25000"/>
              <a:gd name="adj3" fmla="val 9152"/>
            </a:avLst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7639050" y="2930475"/>
            <a:ext cx="219075" cy="747224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2475" y="3771900"/>
            <a:ext cx="1466850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ñ"/>
            </a:pPr>
            <a:r>
              <a:rPr lang="da-DK" sz="1200" dirty="0">
                <a:latin typeface="Delivery" panose="020F0503020204020204" pitchFamily="34" charset="0"/>
              </a:rPr>
              <a:t>PRODUKTIVITET</a:t>
            </a:r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ñ"/>
            </a:pPr>
            <a:r>
              <a:rPr lang="da-DK" sz="1200" dirty="0">
                <a:latin typeface="Delivery" panose="020F0503020204020204" pitchFamily="34" charset="0"/>
              </a:rPr>
              <a:t>EMPLOYER BRAN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981325" y="3781425"/>
            <a:ext cx="1466850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da-DK" sz="1200" dirty="0">
                <a:latin typeface="Delivery" panose="020F0503020204020204" pitchFamily="34" charset="0"/>
                <a:sym typeface="Wingdings" panose="05000000000000000000" pitchFamily="2" charset="2"/>
              </a:rPr>
              <a:t> </a:t>
            </a:r>
            <a:r>
              <a:rPr lang="da-DK" sz="1200" dirty="0">
                <a:latin typeface="Delivery" panose="020F0503020204020204" pitchFamily="34" charset="0"/>
              </a:rPr>
              <a:t>KVALITET</a:t>
            </a:r>
          </a:p>
          <a:p>
            <a:pPr>
              <a:lnSpc>
                <a:spcPct val="110000"/>
              </a:lnSpc>
            </a:pPr>
            <a:r>
              <a:rPr lang="da-DK" sz="1200" dirty="0">
                <a:latin typeface="Delivery" panose="020F0503020204020204" pitchFamily="34" charset="0"/>
                <a:sym typeface="Wingdings" panose="05000000000000000000" pitchFamily="2" charset="2"/>
              </a:rPr>
              <a:t> </a:t>
            </a:r>
            <a:r>
              <a:rPr lang="da-DK" sz="1200" dirty="0">
                <a:latin typeface="Delivery" panose="020F0503020204020204" pitchFamily="34" charset="0"/>
              </a:rPr>
              <a:t>INNOV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000625" y="3783686"/>
            <a:ext cx="1466850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ñ"/>
            </a:pPr>
            <a:r>
              <a:rPr lang="da-DK" sz="1200" dirty="0">
                <a:latin typeface="Delivery" panose="020F0503020204020204" pitchFamily="34" charset="0"/>
              </a:rPr>
              <a:t>FASTHOLDELSE</a:t>
            </a:r>
          </a:p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ñ"/>
            </a:pPr>
            <a:r>
              <a:rPr lang="da-DK" sz="1200" dirty="0">
                <a:latin typeface="Delivery" panose="020F0503020204020204" pitchFamily="34" charset="0"/>
              </a:rPr>
              <a:t>BRAND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124700" y="3774161"/>
            <a:ext cx="1466850" cy="4062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lnSpc>
                <a:spcPct val="110000"/>
              </a:lnSpc>
              <a:buFont typeface="Wingdings" panose="05000000000000000000" pitchFamily="2" charset="2"/>
              <a:buChar char="ñ"/>
            </a:pPr>
            <a:r>
              <a:rPr lang="da-DK" sz="1200" dirty="0">
                <a:latin typeface="Delivery" panose="020F0503020204020204" pitchFamily="34" charset="0"/>
              </a:rPr>
              <a:t>OMSÆTNING</a:t>
            </a:r>
          </a:p>
          <a:p>
            <a:pPr>
              <a:lnSpc>
                <a:spcPct val="110000"/>
              </a:lnSpc>
            </a:pPr>
            <a:r>
              <a:rPr lang="da-DK" sz="1200" dirty="0">
                <a:latin typeface="Delivery" panose="020F0503020204020204" pitchFamily="34" charset="0"/>
                <a:sym typeface="Wingdings" panose="05000000000000000000" pitchFamily="2" charset="2"/>
              </a:rPr>
              <a:t> </a:t>
            </a:r>
            <a:r>
              <a:rPr lang="da-DK" sz="1200" dirty="0">
                <a:latin typeface="Delivery" panose="020F0503020204020204" pitchFamily="34" charset="0"/>
              </a:rPr>
              <a:t>OMKOSTNINGER</a:t>
            </a:r>
          </a:p>
        </p:txBody>
      </p:sp>
      <p:sp>
        <p:nvSpPr>
          <p:cNvPr id="4" name="Rectangle 3"/>
          <p:cNvSpPr/>
          <p:nvPr/>
        </p:nvSpPr>
        <p:spPr bwMode="auto">
          <a:xfrm>
            <a:off x="414000" y="1065334"/>
            <a:ext cx="1674826" cy="1865141"/>
          </a:xfrm>
          <a:prstGeom prst="rect">
            <a:avLst/>
          </a:prstGeom>
          <a:noFill/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5663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4656306" y="1093909"/>
            <a:ext cx="4089906" cy="328759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Den emotionelle arbejdsplads</a:t>
            </a:r>
          </a:p>
        </p:txBody>
      </p:sp>
      <p:sp>
        <p:nvSpPr>
          <p:cNvPr id="5" name="Rectangle 4"/>
          <p:cNvSpPr/>
          <p:nvPr/>
        </p:nvSpPr>
        <p:spPr bwMode="auto">
          <a:xfrm>
            <a:off x="414000" y="1093909"/>
            <a:ext cx="4089906" cy="3287591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Den funktionelle arbejdsplad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Nøglen: Glad på arbejd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79649" y="1741251"/>
            <a:ext cx="466928" cy="182819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0800" dirty="0">
                <a:solidFill>
                  <a:srgbClr val="D40511"/>
                </a:solidFill>
                <a:latin typeface="Delivery" panose="020F0503020204020204" pitchFamily="34" charset="0"/>
              </a:rPr>
              <a:t>+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93697" y="2176938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Løn og god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00122" y="1942033"/>
            <a:ext cx="1536970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Udvikl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79898" y="2407666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Strukturer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3807" y="2615745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Processe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94672" y="2826812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System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108064" y="1693108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Logistik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59091" y="1510523"/>
            <a:ext cx="1536970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Faglighed</a:t>
            </a: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2088826" y="1693108"/>
            <a:ext cx="126248" cy="330919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auto">
          <a:xfrm>
            <a:off x="1657357" y="1836500"/>
            <a:ext cx="507223" cy="26952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>
            <a:off x="1459091" y="2088895"/>
            <a:ext cx="629735" cy="102063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Connector 25"/>
          <p:cNvCxnSpPr/>
          <p:nvPr/>
        </p:nvCxnSpPr>
        <p:spPr bwMode="auto">
          <a:xfrm>
            <a:off x="1531082" y="2312855"/>
            <a:ext cx="557744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/>
        </p:nvCxnSpPr>
        <p:spPr bwMode="auto">
          <a:xfrm flipV="1">
            <a:off x="1225836" y="2407666"/>
            <a:ext cx="862990" cy="101566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/>
        </p:nvCxnSpPr>
        <p:spPr bwMode="auto">
          <a:xfrm flipV="1">
            <a:off x="1504734" y="2558664"/>
            <a:ext cx="497590" cy="158647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 flipV="1">
            <a:off x="1815216" y="2665176"/>
            <a:ext cx="273610" cy="214944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TextBox 38"/>
          <p:cNvSpPr txBox="1"/>
          <p:nvPr/>
        </p:nvSpPr>
        <p:spPr>
          <a:xfrm flipH="1">
            <a:off x="7106595" y="3250478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Omsorg</a:t>
            </a:r>
          </a:p>
        </p:txBody>
      </p:sp>
      <p:sp>
        <p:nvSpPr>
          <p:cNvPr id="40" name="TextBox 39"/>
          <p:cNvSpPr txBox="1"/>
          <p:nvPr/>
        </p:nvSpPr>
        <p:spPr>
          <a:xfrm flipH="1">
            <a:off x="7136000" y="3003788"/>
            <a:ext cx="1762612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Daglige grin</a:t>
            </a:r>
          </a:p>
        </p:txBody>
      </p:sp>
      <p:sp>
        <p:nvSpPr>
          <p:cNvPr id="41" name="TextBox 40"/>
          <p:cNvSpPr txBox="1"/>
          <p:nvPr/>
        </p:nvSpPr>
        <p:spPr>
          <a:xfrm flipH="1">
            <a:off x="7032315" y="3453611"/>
            <a:ext cx="145652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Tilfredsstillelse</a:t>
            </a:r>
          </a:p>
        </p:txBody>
      </p:sp>
      <p:sp>
        <p:nvSpPr>
          <p:cNvPr id="42" name="TextBox 41"/>
          <p:cNvSpPr txBox="1"/>
          <p:nvPr/>
        </p:nvSpPr>
        <p:spPr>
          <a:xfrm flipH="1">
            <a:off x="6751452" y="3673918"/>
            <a:ext cx="1978548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(Ubetinget) anerkendelse</a:t>
            </a:r>
          </a:p>
        </p:txBody>
      </p:sp>
      <p:sp>
        <p:nvSpPr>
          <p:cNvPr id="43" name="TextBox 42"/>
          <p:cNvSpPr txBox="1"/>
          <p:nvPr/>
        </p:nvSpPr>
        <p:spPr>
          <a:xfrm flipH="1">
            <a:off x="7133907" y="2763480"/>
            <a:ext cx="1737432" cy="2031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dirty="0">
                <a:latin typeface="Delivery" panose="020F0503020204020204" pitchFamily="34" charset="0"/>
              </a:rPr>
              <a:t>Velkomst</a:t>
            </a:r>
          </a:p>
        </p:txBody>
      </p:sp>
      <p:cxnSp>
        <p:nvCxnSpPr>
          <p:cNvPr id="45" name="Straight Connector 44"/>
          <p:cNvCxnSpPr/>
          <p:nvPr/>
        </p:nvCxnSpPr>
        <p:spPr bwMode="auto">
          <a:xfrm flipH="1">
            <a:off x="6364634" y="2886625"/>
            <a:ext cx="705490" cy="172758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/>
          <p:nvPr/>
        </p:nvCxnSpPr>
        <p:spPr bwMode="auto">
          <a:xfrm flipH="1">
            <a:off x="6364635" y="3108815"/>
            <a:ext cx="66768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/>
          <p:cNvCxnSpPr/>
          <p:nvPr/>
        </p:nvCxnSpPr>
        <p:spPr bwMode="auto">
          <a:xfrm flipH="1" flipV="1">
            <a:off x="6274340" y="3143965"/>
            <a:ext cx="720029" cy="147359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/>
          <p:cNvCxnSpPr/>
          <p:nvPr/>
        </p:nvCxnSpPr>
        <p:spPr bwMode="auto">
          <a:xfrm flipH="1" flipV="1">
            <a:off x="6274341" y="3206921"/>
            <a:ext cx="664444" cy="306593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/>
        </p:nvCxnSpPr>
        <p:spPr bwMode="auto">
          <a:xfrm flipH="1" flipV="1">
            <a:off x="6274341" y="3277305"/>
            <a:ext cx="377910" cy="438806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174" name="Picture 6" descr="Relateret billed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0" b="16354"/>
          <a:stretch/>
        </p:blipFill>
        <p:spPr bwMode="auto">
          <a:xfrm>
            <a:off x="2136787" y="1510523"/>
            <a:ext cx="2124198" cy="2001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 descr="Relateret billed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0" b="16354"/>
          <a:stretch/>
        </p:blipFill>
        <p:spPr bwMode="auto">
          <a:xfrm flipH="1">
            <a:off x="4949459" y="1541254"/>
            <a:ext cx="2124198" cy="2001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108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  <p:bldP spid="16" grpId="0"/>
      <p:bldP spid="17" grpId="0"/>
      <p:bldP spid="18" grpId="0"/>
      <p:bldP spid="39" grpId="0"/>
      <p:bldP spid="40" grpId="0"/>
      <p:bldP spid="41" grpId="0"/>
      <p:bldP spid="42" grpId="0"/>
      <p:bldP spid="4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yggesten: Tillid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463455" y="1200637"/>
            <a:ext cx="2266545" cy="3287591"/>
          </a:xfrm>
          <a:ln>
            <a:noFill/>
          </a:ln>
        </p:spPr>
        <p:txBody>
          <a:bodyPr/>
          <a:lstStyle/>
          <a:p>
            <a:r>
              <a:rPr lang="da-DK" dirty="0"/>
              <a:t>KULTUR: Respect &amp; Results</a:t>
            </a:r>
          </a:p>
          <a:p>
            <a:r>
              <a:rPr lang="da-DK" dirty="0"/>
              <a:t>Hvad vi </a:t>
            </a:r>
            <a:r>
              <a:rPr lang="da-DK" b="1" dirty="0"/>
              <a:t>siger</a:t>
            </a:r>
            <a:r>
              <a:rPr lang="da-DK" dirty="0"/>
              <a:t> &amp; </a:t>
            </a:r>
            <a:r>
              <a:rPr lang="da-DK" b="1" dirty="0"/>
              <a:t>gør</a:t>
            </a:r>
            <a:r>
              <a:rPr lang="da-DK" dirty="0"/>
              <a:t> reflekterer..</a:t>
            </a:r>
          </a:p>
          <a:p>
            <a:r>
              <a:rPr lang="da-DK" dirty="0"/>
              <a:t>hvad vi </a:t>
            </a:r>
            <a:r>
              <a:rPr lang="da-DK" b="1" dirty="0"/>
              <a:t>tænker</a:t>
            </a:r>
            <a:r>
              <a:rPr lang="da-DK" dirty="0"/>
              <a:t> &amp; </a:t>
            </a:r>
            <a:r>
              <a:rPr lang="da-DK" b="1" dirty="0"/>
              <a:t>føler</a:t>
            </a:r>
          </a:p>
          <a:p>
            <a:r>
              <a:rPr lang="da-DK" dirty="0"/>
              <a:t>Og følelser smitter!</a:t>
            </a:r>
          </a:p>
          <a:p>
            <a:endParaRPr lang="da-DK" dirty="0"/>
          </a:p>
          <a:p>
            <a:r>
              <a:rPr lang="da-DK" dirty="0"/>
              <a:t>STRUKTUR</a:t>
            </a:r>
          </a:p>
          <a:p>
            <a:r>
              <a:rPr lang="da-DK" dirty="0"/>
              <a:t>Politikker</a:t>
            </a:r>
          </a:p>
          <a:p>
            <a:r>
              <a:rPr lang="da-DK" dirty="0"/>
              <a:t>Processer</a:t>
            </a:r>
          </a:p>
          <a:p>
            <a:r>
              <a:rPr lang="da-DK" dirty="0"/>
              <a:t>Belønningssystemer</a:t>
            </a:r>
          </a:p>
          <a:p>
            <a:endParaRPr lang="da-DK" dirty="0"/>
          </a:p>
        </p:txBody>
      </p:sp>
      <p:grpSp>
        <p:nvGrpSpPr>
          <p:cNvPr id="18" name="Group 17"/>
          <p:cNvGrpSpPr/>
          <p:nvPr/>
        </p:nvGrpSpPr>
        <p:grpSpPr>
          <a:xfrm>
            <a:off x="2558374" y="2085871"/>
            <a:ext cx="3171217" cy="2285901"/>
            <a:chOff x="2558374" y="2085871"/>
            <a:chExt cx="3171217" cy="2285901"/>
          </a:xfrm>
        </p:grpSpPr>
        <p:sp>
          <p:nvSpPr>
            <p:cNvPr id="10" name="Up Arrow 9"/>
            <p:cNvSpPr/>
            <p:nvPr/>
          </p:nvSpPr>
          <p:spPr bwMode="auto">
            <a:xfrm>
              <a:off x="3964018" y="2085871"/>
              <a:ext cx="359924" cy="1414822"/>
            </a:xfrm>
            <a:prstGeom prst="upArrow">
              <a:avLst/>
            </a:prstGeom>
            <a:solidFill>
              <a:schemeClr val="bg2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a-DK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2558374" y="3500693"/>
              <a:ext cx="3171217" cy="871079"/>
            </a:xfrm>
            <a:prstGeom prst="rect">
              <a:avLst/>
            </a:prstGeom>
            <a:solidFill>
              <a:srgbClr val="92D050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24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Delivery" panose="020F0503020204020204" pitchFamily="34" charset="0"/>
                </a:rPr>
                <a:t>Risiko</a:t>
              </a:r>
            </a:p>
            <a:p>
              <a:pPr marL="0" marR="0" indent="0" algn="ct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200" dirty="0">
                  <a:latin typeface="Delivery" panose="020F0503020204020204" pitchFamily="34" charset="0"/>
                </a:rPr>
                <a:t>- de beslutninger, jeg selv tager, der kan have konsekvenser for mig</a:t>
              </a:r>
              <a:endParaRPr kumimoji="0" lang="da-DK" sz="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endParaRPr>
            </a:p>
          </p:txBody>
        </p:sp>
      </p:grpSp>
      <p:sp>
        <p:nvSpPr>
          <p:cNvPr id="8" name="Rectangle 7"/>
          <p:cNvSpPr/>
          <p:nvPr/>
        </p:nvSpPr>
        <p:spPr bwMode="auto">
          <a:xfrm>
            <a:off x="2558372" y="2521639"/>
            <a:ext cx="3171217" cy="84294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Fare</a:t>
            </a:r>
          </a:p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dirty="0">
                <a:latin typeface="Delivery" panose="020F0503020204020204" pitchFamily="34" charset="0"/>
              </a:rPr>
              <a:t>- de beslutninger, andre tager, der kan have konsekvenser for mig</a:t>
            </a:r>
            <a:endParaRPr kumimoji="0" lang="da-D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2558373" y="1084180"/>
            <a:ext cx="3171217" cy="1094815"/>
          </a:xfrm>
          <a:prstGeom prst="rect">
            <a:avLst/>
          </a:prstGeom>
          <a:solidFill>
            <a:srgbClr val="FFE88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2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Tillid</a:t>
            </a:r>
          </a:p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dirty="0">
                <a:latin typeface="Delivery" panose="020F0503020204020204" pitchFamily="34" charset="0"/>
              </a:rPr>
              <a:t>- at andre, når de tager beslutninger, der kan have konsekvenser for mig, har taget højde for – og minimeret – den negativ påvirkning</a:t>
            </a:r>
            <a:endParaRPr kumimoji="0" lang="da-DK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</a:endParaRPr>
          </a:p>
        </p:txBody>
      </p:sp>
      <p:sp>
        <p:nvSpPr>
          <p:cNvPr id="11" name="Up Arrow 10"/>
          <p:cNvSpPr/>
          <p:nvPr/>
        </p:nvSpPr>
        <p:spPr bwMode="auto">
          <a:xfrm rot="16200000">
            <a:off x="5846322" y="1334892"/>
            <a:ext cx="359924" cy="593390"/>
          </a:xfrm>
          <a:prstGeom prst="upArrow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" name="Up Arrow 11"/>
          <p:cNvSpPr/>
          <p:nvPr/>
        </p:nvSpPr>
        <p:spPr bwMode="auto">
          <a:xfrm rot="16200000">
            <a:off x="5846319" y="2646414"/>
            <a:ext cx="359924" cy="593390"/>
          </a:xfrm>
          <a:prstGeom prst="upArrow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a-DK" sz="12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14" name="Straight Connector 13"/>
          <p:cNvCxnSpPr/>
          <p:nvPr/>
        </p:nvCxnSpPr>
        <p:spPr bwMode="auto">
          <a:xfrm>
            <a:off x="6322976" y="1084180"/>
            <a:ext cx="0" cy="2416513"/>
          </a:xfrm>
          <a:prstGeom prst="line">
            <a:avLst/>
          </a:prstGeom>
          <a:solidFill>
            <a:schemeClr val="bg1"/>
          </a:solidFill>
          <a:ln w="381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6302947" y="3610691"/>
            <a:ext cx="2587560" cy="80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da-DK" sz="1200" b="1" dirty="0">
                <a:latin typeface="Delivery" panose="020F0503020204020204" pitchFamily="34" charset="0"/>
              </a:rPr>
              <a:t>En arbejdsplads med glade medarbejdere har en ledelsesadfærd, der vækker tillid, giver emotionel tryghed og er motiverende.</a:t>
            </a:r>
          </a:p>
        </p:txBody>
      </p:sp>
      <p:pic>
        <p:nvPicPr>
          <p:cNvPr id="17" name="Picture 6" descr="Relateret billede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20" b="16354"/>
          <a:stretch/>
        </p:blipFill>
        <p:spPr bwMode="auto">
          <a:xfrm flipH="1">
            <a:off x="410789" y="1500279"/>
            <a:ext cx="2124198" cy="2001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08181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  <p:bldP spid="8" grpId="0" animBg="1"/>
      <p:bldP spid="9" grpId="0" animBg="1"/>
      <p:bldP spid="11" grpId="0" animBg="1"/>
      <p:bldP spid="12" grpId="0" animBg="1"/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Byggesten til at være glad på arbejde: Motivationsfaktorer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413999" y="2523541"/>
            <a:ext cx="1959549" cy="363600"/>
          </a:xfrm>
          <a:prstGeom prst="rect">
            <a:avLst/>
          </a:prstGeom>
          <a:solidFill>
            <a:srgbClr val="FFDB4C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AT HØRE TIL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793208" y="1035450"/>
            <a:ext cx="1980000" cy="1847614"/>
            <a:chOff x="6793208" y="1035450"/>
            <a:chExt cx="1980000" cy="1847614"/>
          </a:xfrm>
        </p:grpSpPr>
        <p:sp>
          <p:nvSpPr>
            <p:cNvPr id="9" name="Rectangle 8"/>
            <p:cNvSpPr/>
            <p:nvPr/>
          </p:nvSpPr>
          <p:spPr bwMode="auto">
            <a:xfrm>
              <a:off x="6793208" y="2519464"/>
              <a:ext cx="1980000" cy="363600"/>
            </a:xfrm>
            <a:prstGeom prst="rect">
              <a:avLst/>
            </a:prstGeom>
            <a:solidFill>
              <a:srgbClr val="FFDB4C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Delivery" panose="020F0503020204020204" pitchFamily="34" charset="0"/>
                </a:rPr>
                <a:t>AT DET GIVER MENING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93208" y="1035450"/>
              <a:ext cx="1978685" cy="1484014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4677154" y="1138135"/>
            <a:ext cx="1980000" cy="1749006"/>
            <a:chOff x="4677154" y="1138135"/>
            <a:chExt cx="1980000" cy="1749006"/>
          </a:xfrm>
        </p:grpSpPr>
        <p:sp>
          <p:nvSpPr>
            <p:cNvPr id="8" name="Rectangle 7"/>
            <p:cNvSpPr/>
            <p:nvPr/>
          </p:nvSpPr>
          <p:spPr bwMode="auto">
            <a:xfrm>
              <a:off x="4677154" y="2523541"/>
              <a:ext cx="1980000" cy="363600"/>
            </a:xfrm>
            <a:prstGeom prst="rect">
              <a:avLst/>
            </a:prstGeom>
            <a:solidFill>
              <a:srgbClr val="FFDB4C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da-DK" sz="1200" b="1" dirty="0">
                  <a:latin typeface="Delivery" panose="020F0503020204020204" pitchFamily="34" charset="0"/>
                </a:rPr>
                <a:t>AT VÆRE KOMPETENT</a:t>
              </a:r>
              <a:endParaRPr kumimoji="0" lang="da-DK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endParaRP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066"/>
            <a:stretch/>
          </p:blipFill>
          <p:spPr>
            <a:xfrm>
              <a:off x="4677154" y="1138135"/>
              <a:ext cx="1977599" cy="1348723"/>
            </a:xfrm>
            <a:prstGeom prst="rect">
              <a:avLst/>
            </a:prstGeom>
          </p:spPr>
        </p:pic>
      </p:grpSp>
      <p:sp>
        <p:nvSpPr>
          <p:cNvPr id="14" name="AutoShape 2" descr="http://resources.mynewsdesk.com/image/upload/c_limit,dpr_0.75,f_auto,h_700,q_auto,w_690/y8lmg3hgxxaevj9ioquu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099" r="913"/>
          <a:stretch/>
        </p:blipFill>
        <p:spPr>
          <a:xfrm>
            <a:off x="414000" y="1108952"/>
            <a:ext cx="1959549" cy="1377905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2536551" y="1114675"/>
            <a:ext cx="1977600" cy="1772466"/>
            <a:chOff x="2536551" y="1114675"/>
            <a:chExt cx="1977600" cy="1772466"/>
          </a:xfrm>
        </p:grpSpPr>
        <p:sp>
          <p:nvSpPr>
            <p:cNvPr id="16" name="Rectangle 15"/>
            <p:cNvSpPr/>
            <p:nvPr/>
          </p:nvSpPr>
          <p:spPr bwMode="auto">
            <a:xfrm>
              <a:off x="2545576" y="2523541"/>
              <a:ext cx="1959549" cy="363600"/>
            </a:xfrm>
            <a:prstGeom prst="rect">
              <a:avLst/>
            </a:prstGeom>
            <a:solidFill>
              <a:srgbClr val="FFDB4C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9536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a-DK" sz="1200" b="1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Delivery" panose="020F0503020204020204" pitchFamily="34" charset="0"/>
                </a:rPr>
                <a:t>AT HAVE INDFLYDELSE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85"/>
            <a:stretch/>
          </p:blipFill>
          <p:spPr>
            <a:xfrm>
              <a:off x="2536551" y="1114675"/>
              <a:ext cx="1977600" cy="13721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564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eori til hverdag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sp>
        <p:nvSpPr>
          <p:cNvPr id="6" name="Rectangle 5"/>
          <p:cNvSpPr/>
          <p:nvPr/>
        </p:nvSpPr>
        <p:spPr bwMode="auto">
          <a:xfrm>
            <a:off x="413999" y="2523541"/>
            <a:ext cx="1959549" cy="363600"/>
          </a:xfrm>
          <a:prstGeom prst="rect">
            <a:avLst/>
          </a:prstGeom>
          <a:solidFill>
            <a:srgbClr val="FFDB4C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AT HØRE TIL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4677154" y="2523541"/>
            <a:ext cx="1980000" cy="363600"/>
          </a:xfrm>
          <a:prstGeom prst="rect">
            <a:avLst/>
          </a:prstGeom>
          <a:solidFill>
            <a:srgbClr val="FFDB4C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a-DK" sz="1200" b="1" dirty="0">
                <a:latin typeface="Delivery" panose="020F0503020204020204" pitchFamily="34" charset="0"/>
              </a:rPr>
              <a:t>AT VÆRE KOMPETENT</a:t>
            </a:r>
            <a:endParaRPr kumimoji="0" lang="da-DK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Delivery" panose="020F050302020402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6793208" y="2519464"/>
            <a:ext cx="1980000" cy="363600"/>
          </a:xfrm>
          <a:prstGeom prst="rect">
            <a:avLst/>
          </a:prstGeom>
          <a:solidFill>
            <a:srgbClr val="FFDB4C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AT DET GIVER MENING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208" y="1035450"/>
            <a:ext cx="1978685" cy="148401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66"/>
          <a:stretch/>
        </p:blipFill>
        <p:spPr>
          <a:xfrm>
            <a:off x="4677154" y="1138135"/>
            <a:ext cx="1977599" cy="1348723"/>
          </a:xfrm>
          <a:prstGeom prst="rect">
            <a:avLst/>
          </a:prstGeom>
        </p:spPr>
      </p:pic>
      <p:sp>
        <p:nvSpPr>
          <p:cNvPr id="14" name="AutoShape 2" descr="http://resources.mynewsdesk.com/image/upload/c_limit,dpr_0.75,f_auto,h_700,q_auto,w_690/y8lmg3hgxxaevj9ioquu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7099" r="913"/>
          <a:stretch/>
        </p:blipFill>
        <p:spPr>
          <a:xfrm>
            <a:off x="414000" y="1108952"/>
            <a:ext cx="1959549" cy="1377905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auto">
          <a:xfrm>
            <a:off x="2545576" y="2523541"/>
            <a:ext cx="1959549" cy="363600"/>
          </a:xfrm>
          <a:prstGeom prst="rect">
            <a:avLst/>
          </a:prstGeom>
          <a:solidFill>
            <a:srgbClr val="FFDB4C"/>
          </a:solidFill>
          <a:ln w="12700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Delivery" panose="020F0503020204020204" pitchFamily="34" charset="0"/>
              </a:rPr>
              <a:t>AT HAVE INDFLYDELSE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85"/>
          <a:stretch/>
        </p:blipFill>
        <p:spPr>
          <a:xfrm>
            <a:off x="2536551" y="1114675"/>
            <a:ext cx="1977600" cy="137218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414000" y="2935954"/>
            <a:ext cx="1959549" cy="15519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Sig godmorgen og smil – til alle!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Udtalte forventninger til adfærd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Vær lidt crazy – det’ spas!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Team og ad hoc events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Ledelsen på gulvet / åben dør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Social væg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Stolt af dit land, netværk, brand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da-DK" sz="1200" dirty="0" err="1"/>
          </a:p>
        </p:txBody>
      </p:sp>
      <p:sp>
        <p:nvSpPr>
          <p:cNvPr id="18" name="TextBox 17"/>
          <p:cNvSpPr txBox="1"/>
          <p:nvPr/>
        </p:nvSpPr>
        <p:spPr>
          <a:xfrm>
            <a:off x="2554602" y="2935143"/>
            <a:ext cx="1959549" cy="11620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Klart mandat (og lære af fejl)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Daglige tavlemøder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Sambesøg/-kørsel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One-to-one’s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Trivsel – surveys og action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da-DK" sz="1200" dirty="0" err="1"/>
          </a:p>
        </p:txBody>
      </p:sp>
      <p:sp>
        <p:nvSpPr>
          <p:cNvPr id="19" name="TextBox 18"/>
          <p:cNvSpPr txBox="1"/>
          <p:nvPr/>
        </p:nvSpPr>
        <p:spPr>
          <a:xfrm>
            <a:off x="4697605" y="2930986"/>
            <a:ext cx="1959549" cy="14293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Coaching i stedet for instruktion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Certified International Specialist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AID feedback på performance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Fejring, priser og anerkendelse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Intern rekruttering &amp; succession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da-DK" sz="1200" dirty="0"/>
          </a:p>
          <a:p>
            <a:pPr>
              <a:lnSpc>
                <a:spcPct val="110000"/>
              </a:lnSpc>
              <a:spcAft>
                <a:spcPts val="500"/>
              </a:spcAft>
            </a:pPr>
            <a:endParaRPr lang="da-DK" sz="1200" dirty="0" err="1"/>
          </a:p>
        </p:txBody>
      </p:sp>
      <p:sp>
        <p:nvSpPr>
          <p:cNvPr id="20" name="TextBox 19"/>
          <p:cNvSpPr txBox="1"/>
          <p:nvPr/>
        </p:nvSpPr>
        <p:spPr>
          <a:xfrm>
            <a:off x="6793208" y="2930986"/>
            <a:ext cx="1959549" cy="12618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Connecting People, Improving Lives -&gt; GoHelp, GoTeach, GoGreen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Kasseløb, Fri for Mobberi, DHL Stafetten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Plant træer</a:t>
            </a:r>
          </a:p>
          <a:p>
            <a:pPr>
              <a:spcAft>
                <a:spcPts val="200"/>
              </a:spcAft>
            </a:pPr>
            <a:r>
              <a:rPr lang="da-DK" sz="1100" dirty="0">
                <a:latin typeface="Delivery" panose="020F0503020204020204" pitchFamily="34" charset="0"/>
              </a:rPr>
              <a:t>Medarbejderes hjertesager</a:t>
            </a:r>
            <a:endParaRPr lang="da-DK" sz="1200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59ABBB8B-3968-456C-9DBC-C72222903669}"/>
              </a:ext>
            </a:extLst>
          </p:cNvPr>
          <p:cNvSpPr txBox="1"/>
          <p:nvPr/>
        </p:nvSpPr>
        <p:spPr>
          <a:xfrm>
            <a:off x="368300" y="4308286"/>
            <a:ext cx="8404908" cy="18742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da-DK" sz="1200" i="1" dirty="0">
                <a:solidFill>
                  <a:schemeClr val="bg1">
                    <a:lumMod val="50000"/>
                  </a:schemeClr>
                </a:solidFill>
              </a:rPr>
              <a:t>Ledelse – Ledelse - Ledelse</a:t>
            </a:r>
            <a:endParaRPr lang="en-US" sz="1200" i="1" dirty="0" err="1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61E0348-6A10-4963-ABF0-60F57FBB5A76}"/>
              </a:ext>
            </a:extLst>
          </p:cNvPr>
          <p:cNvSpPr/>
          <p:nvPr/>
        </p:nvSpPr>
        <p:spPr bwMode="auto">
          <a:xfrm rot="1725496">
            <a:off x="1724445" y="2473817"/>
            <a:ext cx="654209" cy="25691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400" b="0" i="0" u="none" strike="noStrike" cap="none" normalizeH="0" baseline="0" dirty="0">
                <a:ln>
                  <a:noFill/>
                </a:ln>
                <a:solidFill>
                  <a:schemeClr val="accent4"/>
                </a:solidFill>
                <a:effectLst/>
                <a:latin typeface="DeutschePost-MedCn" panose="020B0500000000000000"/>
              </a:rPr>
              <a:t>Robust</a:t>
            </a:r>
            <a:endParaRPr kumimoji="0" lang="en-US" sz="1400" b="0" i="0" u="none" strike="noStrike" cap="none" normalizeH="0" baseline="0" dirty="0" err="1">
              <a:ln>
                <a:noFill/>
              </a:ln>
              <a:solidFill>
                <a:schemeClr val="accent4"/>
              </a:solidFill>
              <a:effectLst/>
              <a:latin typeface="DeutschePost-MedCn" panose="020B05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1282140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5" grpId="0" animBg="1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Ledelse i praksis i DPDH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C0CE6479-30B4-4778-AFEC-AC8D7D6E0BEF}"/>
              </a:ext>
            </a:extLst>
          </p:cNvPr>
          <p:cNvSpPr/>
          <p:nvPr/>
        </p:nvSpPr>
        <p:spPr>
          <a:xfrm>
            <a:off x="381119" y="942742"/>
            <a:ext cx="4094568" cy="3590727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>
              <a:spcAft>
                <a:spcPts val="200"/>
              </a:spcAft>
            </a:pPr>
            <a:r>
              <a:rPr lang="da-DK" sz="1000" b="1" dirty="0">
                <a:solidFill>
                  <a:schemeClr val="accent4"/>
                </a:solidFill>
                <a:latin typeface="DeutschePost-MedCn" panose="020B0500000000000000"/>
              </a:rPr>
              <a:t>Respect</a:t>
            </a: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Displaying </a:t>
            </a:r>
            <a:r>
              <a:rPr lang="en-GB" sz="1050" dirty="0">
                <a:solidFill>
                  <a:srgbClr val="FFC000"/>
                </a:solidFill>
                <a:latin typeface="DeutschePost-MedCn" panose="020B0500000000000000"/>
              </a:rPr>
              <a:t>genuine passion </a:t>
            </a:r>
            <a:r>
              <a:rPr lang="en-GB" sz="1000" dirty="0">
                <a:latin typeface="DeutschePost-MedCn" panose="020B0500000000000000"/>
              </a:rPr>
              <a:t>and energy for your role in DHL Express and to its Customers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Talking enthusiastically about the company goals and helping others </a:t>
            </a:r>
            <a:r>
              <a:rPr lang="en-GB" sz="1050" dirty="0">
                <a:solidFill>
                  <a:srgbClr val="FFC000"/>
                </a:solidFill>
                <a:latin typeface="DeutschePost-MedCn" panose="020B0500000000000000"/>
              </a:rPr>
              <a:t>understand the contribution </a:t>
            </a:r>
            <a:r>
              <a:rPr lang="en-GB" sz="1000" dirty="0">
                <a:latin typeface="DeutschePost-MedCn" panose="020B0500000000000000"/>
              </a:rPr>
              <a:t>they make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Inspiring others by </a:t>
            </a:r>
            <a:r>
              <a:rPr lang="en-GB" sz="1050" dirty="0">
                <a:solidFill>
                  <a:srgbClr val="FFC000"/>
                </a:solidFill>
                <a:latin typeface="DeutschePost-MedCn" panose="020B0500000000000000"/>
              </a:rPr>
              <a:t>sharing </a:t>
            </a:r>
            <a:r>
              <a:rPr lang="en-GB" sz="1000" dirty="0">
                <a:latin typeface="DeutschePost-MedCn" panose="020B0500000000000000"/>
              </a:rPr>
              <a:t>personal experiences, stories, ideas and views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Taking a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personal interest </a:t>
            </a:r>
            <a:r>
              <a:rPr lang="en-GB" sz="1000" dirty="0">
                <a:latin typeface="DeutschePost-MedCn" panose="020B0500000000000000"/>
              </a:rPr>
              <a:t>and showing genuine respect and concern for others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Being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open and approachable </a:t>
            </a:r>
            <a:r>
              <a:rPr lang="en-GB" sz="1000" dirty="0">
                <a:latin typeface="DeutschePost-MedCn" panose="020B0500000000000000"/>
              </a:rPr>
              <a:t>so others feel free to share their views and ideas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Adapting your style and approach to influence,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motivate</a:t>
            </a:r>
            <a:r>
              <a:rPr lang="en-GB" sz="1000" dirty="0">
                <a:latin typeface="DeutschePost-MedCn" panose="020B0500000000000000"/>
              </a:rPr>
              <a:t> and get the best from others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Providing a working environment </a:t>
            </a:r>
            <a:r>
              <a:rPr lang="en-GB" sz="1000" dirty="0">
                <a:latin typeface="DeutschePost-MedCn" panose="020B0500000000000000"/>
              </a:rPr>
              <a:t>and the equipment needed for people to succeed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Admitting</a:t>
            </a:r>
            <a:r>
              <a:rPr lang="en-GB" sz="1000" dirty="0">
                <a:latin typeface="DeutschePost-MedCn" panose="020B0500000000000000"/>
              </a:rPr>
              <a:t> when you have made a mistake or had a negative impact on someone else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Always delivering </a:t>
            </a:r>
            <a:r>
              <a:rPr lang="en-GB" sz="1000" dirty="0">
                <a:latin typeface="DeutschePost-MedCn" panose="020B0500000000000000"/>
              </a:rPr>
              <a:t>on your commitments to others</a:t>
            </a:r>
            <a:endParaRPr lang="da-DK" sz="1000" dirty="0">
              <a:latin typeface="DeutschePost-MedCn" panose="020B0500000000000000"/>
            </a:endParaRPr>
          </a:p>
          <a:p>
            <a:pPr marL="7200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Showing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equal appreciation </a:t>
            </a:r>
            <a:r>
              <a:rPr lang="en-GB" sz="1000" dirty="0">
                <a:latin typeface="DeutschePost-MedCn" panose="020B0500000000000000"/>
              </a:rPr>
              <a:t>of different talents and skills within the team</a:t>
            </a:r>
            <a:endParaRPr lang="da-DK" sz="1000" dirty="0">
              <a:latin typeface="DeutschePost-MedCn" panose="020B0500000000000000"/>
            </a:endParaRPr>
          </a:p>
          <a:p>
            <a:endParaRPr lang="en-GB" sz="900" dirty="0">
              <a:solidFill>
                <a:schemeClr val="accent4"/>
              </a:solidFill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BF0EA07E-DBD8-426B-989E-7DEF4BC5551E}"/>
              </a:ext>
            </a:extLst>
          </p:cNvPr>
          <p:cNvSpPr/>
          <p:nvPr/>
        </p:nvSpPr>
        <p:spPr>
          <a:xfrm>
            <a:off x="4750027" y="942742"/>
            <a:ext cx="4094568" cy="3118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00"/>
              </a:spcAft>
            </a:pPr>
            <a:r>
              <a:rPr lang="en-GB" sz="1000" b="1" dirty="0">
                <a:solidFill>
                  <a:schemeClr val="accent4"/>
                </a:solidFill>
                <a:latin typeface="DeutschePost-MedCn" panose="020B0500000000000000"/>
              </a:rPr>
              <a:t>Results</a:t>
            </a:r>
            <a:r>
              <a:rPr lang="en-GB" sz="1000" dirty="0">
                <a:latin typeface="DeutschePost-MedCn" panose="020B0500000000000000"/>
              </a:rPr>
              <a:t> </a:t>
            </a:r>
          </a:p>
          <a:p>
            <a:pPr marL="72000" indent="-72000"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Being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clear and up-to-date </a:t>
            </a:r>
            <a:r>
              <a:rPr lang="en-GB" sz="1000" dirty="0">
                <a:latin typeface="DeutschePost-MedCn" panose="020B0500000000000000"/>
              </a:rPr>
              <a:t>about what needs to be achieved at all times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Communicating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expectations</a:t>
            </a:r>
            <a:r>
              <a:rPr lang="en-GB" sz="1000" dirty="0">
                <a:latin typeface="DeutschePost-MedCn" panose="020B0500000000000000"/>
              </a:rPr>
              <a:t> to others clearly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Remaining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focused, resilient and optimistic</a:t>
            </a:r>
            <a:r>
              <a:rPr lang="en-GB" sz="1000" dirty="0">
                <a:latin typeface="DeutschePost-MedCn" panose="020B0500000000000000"/>
              </a:rPr>
              <a:t>, even during challenging times, always displaying a Can Do attitude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Always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managing underperformance </a:t>
            </a:r>
            <a:r>
              <a:rPr lang="en-GB" sz="1000" dirty="0">
                <a:latin typeface="DeutschePost-MedCn" panose="020B0500000000000000"/>
              </a:rPr>
              <a:t>in a confident and skilled manner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Focusing on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supporting and developing </a:t>
            </a:r>
            <a:r>
              <a:rPr lang="en-GB" sz="1000" dirty="0">
                <a:latin typeface="DeutschePost-MedCn" panose="020B0500000000000000"/>
              </a:rPr>
              <a:t>others through coaching and feedback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Regularly giving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positive recognition </a:t>
            </a:r>
            <a:r>
              <a:rPr lang="en-GB" sz="1000" dirty="0">
                <a:latin typeface="DeutschePost-MedCn" panose="020B0500000000000000"/>
              </a:rPr>
              <a:t>to others for the right thing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Monitoring the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progress</a:t>
            </a:r>
            <a:r>
              <a:rPr lang="en-GB" sz="1000" dirty="0">
                <a:latin typeface="DeutschePost-MedCn" panose="020B0500000000000000"/>
              </a:rPr>
              <a:t> of others against goals and targets on a regular basis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Encouraging your team to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share ideas </a:t>
            </a:r>
            <a:r>
              <a:rPr lang="en-GB" sz="1000" dirty="0">
                <a:latin typeface="DeutschePost-MedCn" panose="020B0500000000000000"/>
              </a:rPr>
              <a:t>and best practice within the team as well as across teams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Using appropriate skills and disciplines to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fix problems </a:t>
            </a:r>
            <a:r>
              <a:rPr lang="en-GB" sz="1000" dirty="0">
                <a:latin typeface="DeutschePost-MedCn" panose="020B0500000000000000"/>
              </a:rPr>
              <a:t>as soon as you encounter them</a:t>
            </a:r>
            <a:endParaRPr lang="da-DK" sz="1000" dirty="0">
              <a:latin typeface="DeutschePost-MedCn" panose="020B0500000000000000"/>
            </a:endParaRPr>
          </a:p>
          <a:p>
            <a:pPr marL="72000" lvl="0" indent="-72000">
              <a:lnSpc>
                <a:spcPct val="100000"/>
              </a:lnSpc>
              <a:spcAft>
                <a:spcPts val="200"/>
              </a:spcAft>
              <a:buClr>
                <a:srgbClr val="C00000"/>
              </a:buClr>
              <a:buFont typeface="Arial" pitchFamily="34" charset="0"/>
              <a:buChar char="•"/>
            </a:pPr>
            <a:r>
              <a:rPr lang="en-GB" sz="1000" dirty="0">
                <a:latin typeface="DeutschePost-MedCn" panose="020B0500000000000000"/>
              </a:rPr>
              <a:t>Focusing on ensuring you are doing things Right 1st Time, at Speed </a:t>
            </a:r>
            <a:r>
              <a:rPr lang="en-GB" sz="1100" dirty="0">
                <a:solidFill>
                  <a:srgbClr val="FFC000"/>
                </a:solidFill>
                <a:latin typeface="DeutschePost-MedCn" panose="020B0500000000000000"/>
              </a:rPr>
              <a:t>delivering Great Service Quality</a:t>
            </a:r>
            <a:endParaRPr lang="da-DK" sz="1000" dirty="0">
              <a:solidFill>
                <a:srgbClr val="FFC000"/>
              </a:solidFill>
              <a:latin typeface="DeutschePost-MedCn" panose="020B0500000000000000"/>
            </a:endParaRP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DF92F79A-8F3F-42AF-A078-7C1C5657C37A}"/>
              </a:ext>
            </a:extLst>
          </p:cNvPr>
          <p:cNvSpPr/>
          <p:nvPr/>
        </p:nvSpPr>
        <p:spPr bwMode="auto">
          <a:xfrm>
            <a:off x="4847129" y="4077339"/>
            <a:ext cx="3997466" cy="243205"/>
          </a:xfrm>
          <a:prstGeom prst="rect">
            <a:avLst/>
          </a:prstGeom>
          <a:solidFill>
            <a:srgbClr val="FFCC00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sz="1100" b="0" i="0" u="none" strike="noStrike" cap="none" normalizeH="0" baseline="0" dirty="0">
                <a:ln>
                  <a:noFill/>
                </a:ln>
                <a:effectLst/>
                <a:latin typeface="DeutschePost-MedCn" panose="020B0500000000000000"/>
              </a:rPr>
              <a:t>Trivsel for mellemledere er lige så vigtigt som for medarbejdere..</a:t>
            </a:r>
            <a:endParaRPr kumimoji="0" lang="en-US" sz="1100" b="0" i="0" u="none" strike="noStrike" cap="none" normalizeH="0" baseline="0" dirty="0" err="1">
              <a:ln>
                <a:noFill/>
              </a:ln>
              <a:effectLst/>
              <a:latin typeface="DeutschePost-MedCn" panose="020B05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3183134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n rejse uden end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BAUs </a:t>
            </a:r>
            <a:r>
              <a:rPr lang="en-US" dirty="0" err="1"/>
              <a:t>årsmøde</a:t>
            </a:r>
            <a:r>
              <a:rPr lang="en-US" dirty="0"/>
              <a:t> | Kolding | 22. </a:t>
            </a:r>
            <a:r>
              <a:rPr lang="en-US" dirty="0" err="1"/>
              <a:t>oktober</a:t>
            </a:r>
            <a:r>
              <a:rPr lang="en-US" dirty="0"/>
              <a:t> 2019</a:t>
            </a:r>
          </a:p>
        </p:txBody>
      </p:sp>
      <p:pic>
        <p:nvPicPr>
          <p:cNvPr id="5" name="Billede 4" descr="group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0450" y="38141"/>
            <a:ext cx="1233161" cy="1233158"/>
          </a:xfrm>
          <a:prstGeom prst="rect">
            <a:avLst/>
          </a:prstGeom>
        </p:spPr>
      </p:pic>
      <p:sp>
        <p:nvSpPr>
          <p:cNvPr id="6" name="Content Placeholder 4"/>
          <p:cNvSpPr txBox="1">
            <a:spLocks/>
          </p:cNvSpPr>
          <p:nvPr/>
        </p:nvSpPr>
        <p:spPr>
          <a:xfrm>
            <a:off x="1560613" y="4072211"/>
            <a:ext cx="3086101" cy="300744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>
                <a:sym typeface="Webdings" panose="05030102010509060703" pitchFamily="18" charset="2"/>
              </a:rPr>
              <a:t>1. </a:t>
            </a:r>
            <a:r>
              <a:rPr lang="da-DK" sz="1500" dirty="0"/>
              <a:t>Nogle glade hoveder</a:t>
            </a:r>
          </a:p>
        </p:txBody>
      </p:sp>
      <p:sp>
        <p:nvSpPr>
          <p:cNvPr id="7" name="Content Placeholder 4"/>
          <p:cNvSpPr txBox="1">
            <a:spLocks/>
          </p:cNvSpPr>
          <p:nvPr/>
        </p:nvSpPr>
        <p:spPr>
          <a:xfrm>
            <a:off x="493086" y="3162850"/>
            <a:ext cx="2394123" cy="25949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2. Ledere, der tør</a:t>
            </a:r>
          </a:p>
        </p:txBody>
      </p:sp>
      <p:sp>
        <p:nvSpPr>
          <p:cNvPr id="8" name="Freeform 7"/>
          <p:cNvSpPr/>
          <p:nvPr/>
        </p:nvSpPr>
        <p:spPr>
          <a:xfrm>
            <a:off x="894945" y="1177417"/>
            <a:ext cx="6886721" cy="3182661"/>
          </a:xfrm>
          <a:custGeom>
            <a:avLst/>
            <a:gdLst>
              <a:gd name="connsiteX0" fmla="*/ 0 w 10120183"/>
              <a:gd name="connsiteY0" fmla="*/ 5251621 h 5251621"/>
              <a:gd name="connsiteX1" fmla="*/ 1717589 w 10120183"/>
              <a:gd name="connsiteY1" fmla="*/ 4337221 h 5251621"/>
              <a:gd name="connsiteX2" fmla="*/ 2187145 w 10120183"/>
              <a:gd name="connsiteY2" fmla="*/ 3163329 h 5251621"/>
              <a:gd name="connsiteX3" fmla="*/ 3311610 w 10120183"/>
              <a:gd name="connsiteY3" fmla="*/ 3682313 h 5251621"/>
              <a:gd name="connsiteX4" fmla="*/ 4114800 w 10120183"/>
              <a:gd name="connsiteY4" fmla="*/ 3361037 h 5251621"/>
              <a:gd name="connsiteX5" fmla="*/ 4213654 w 10120183"/>
              <a:gd name="connsiteY5" fmla="*/ 3039762 h 5251621"/>
              <a:gd name="connsiteX6" fmla="*/ 4732637 w 10120183"/>
              <a:gd name="connsiteY6" fmla="*/ 3015048 h 5251621"/>
              <a:gd name="connsiteX7" fmla="*/ 5387545 w 10120183"/>
              <a:gd name="connsiteY7" fmla="*/ 2533135 h 5251621"/>
              <a:gd name="connsiteX8" fmla="*/ 6091881 w 10120183"/>
              <a:gd name="connsiteY8" fmla="*/ 2520778 h 5251621"/>
              <a:gd name="connsiteX9" fmla="*/ 6400800 w 10120183"/>
              <a:gd name="connsiteY9" fmla="*/ 1594021 h 5251621"/>
              <a:gd name="connsiteX10" fmla="*/ 7352270 w 10120183"/>
              <a:gd name="connsiteY10" fmla="*/ 1371600 h 5251621"/>
              <a:gd name="connsiteX11" fmla="*/ 10120183 w 10120183"/>
              <a:gd name="connsiteY11" fmla="*/ 0 h 52516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120183" h="5251621">
                <a:moveTo>
                  <a:pt x="0" y="5251621"/>
                </a:moveTo>
                <a:cubicBezTo>
                  <a:pt x="676532" y="4968445"/>
                  <a:pt x="1353065" y="4685270"/>
                  <a:pt x="1717589" y="4337221"/>
                </a:cubicBezTo>
                <a:cubicBezTo>
                  <a:pt x="2082113" y="3989172"/>
                  <a:pt x="1921475" y="3272480"/>
                  <a:pt x="2187145" y="3163329"/>
                </a:cubicBezTo>
                <a:cubicBezTo>
                  <a:pt x="2452815" y="3054178"/>
                  <a:pt x="2990334" y="3649362"/>
                  <a:pt x="3311610" y="3682313"/>
                </a:cubicBezTo>
                <a:cubicBezTo>
                  <a:pt x="3632886" y="3715264"/>
                  <a:pt x="3964459" y="3468129"/>
                  <a:pt x="4114800" y="3361037"/>
                </a:cubicBezTo>
                <a:cubicBezTo>
                  <a:pt x="4265141" y="3253945"/>
                  <a:pt x="4110681" y="3097427"/>
                  <a:pt x="4213654" y="3039762"/>
                </a:cubicBezTo>
                <a:cubicBezTo>
                  <a:pt x="4316627" y="2982097"/>
                  <a:pt x="4536989" y="3099486"/>
                  <a:pt x="4732637" y="3015048"/>
                </a:cubicBezTo>
                <a:cubicBezTo>
                  <a:pt x="4928286" y="2930610"/>
                  <a:pt x="5161004" y="2615513"/>
                  <a:pt x="5387545" y="2533135"/>
                </a:cubicBezTo>
                <a:cubicBezTo>
                  <a:pt x="5614086" y="2450757"/>
                  <a:pt x="5923005" y="2677297"/>
                  <a:pt x="6091881" y="2520778"/>
                </a:cubicBezTo>
                <a:cubicBezTo>
                  <a:pt x="6260757" y="2364259"/>
                  <a:pt x="6190735" y="1785551"/>
                  <a:pt x="6400800" y="1594021"/>
                </a:cubicBezTo>
                <a:cubicBezTo>
                  <a:pt x="6610865" y="1402491"/>
                  <a:pt x="6732373" y="1637270"/>
                  <a:pt x="7352270" y="1371600"/>
                </a:cubicBezTo>
                <a:cubicBezTo>
                  <a:pt x="7972167" y="1105930"/>
                  <a:pt x="9046175" y="552965"/>
                  <a:pt x="10120183" y="0"/>
                </a:cubicBezTo>
              </a:path>
            </a:pathLst>
          </a:custGeom>
          <a:noFill/>
          <a:ln w="762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/>
          </a:p>
        </p:txBody>
      </p:sp>
      <p:sp>
        <p:nvSpPr>
          <p:cNvPr id="9" name="Content Placeholder 4"/>
          <p:cNvSpPr txBox="1">
            <a:spLocks/>
          </p:cNvSpPr>
          <p:nvPr/>
        </p:nvSpPr>
        <p:spPr>
          <a:xfrm>
            <a:off x="3297155" y="3396868"/>
            <a:ext cx="2792360" cy="4941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3. Gooodmorgen - velkomsten</a:t>
            </a:r>
          </a:p>
        </p:txBody>
      </p:sp>
      <p:sp>
        <p:nvSpPr>
          <p:cNvPr id="10" name="Content Placeholder 4"/>
          <p:cNvSpPr txBox="1">
            <a:spLocks/>
          </p:cNvSpPr>
          <p:nvPr/>
        </p:nvSpPr>
        <p:spPr>
          <a:xfrm>
            <a:off x="1786541" y="2624999"/>
            <a:ext cx="3021227" cy="3337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4. Vi tilhører noget stort</a:t>
            </a:r>
          </a:p>
        </p:txBody>
      </p:sp>
      <p:sp>
        <p:nvSpPr>
          <p:cNvPr id="11" name="Content Placeholder 4"/>
          <p:cNvSpPr txBox="1">
            <a:spLocks/>
          </p:cNvSpPr>
          <p:nvPr/>
        </p:nvSpPr>
        <p:spPr>
          <a:xfrm>
            <a:off x="5129397" y="2525565"/>
            <a:ext cx="3080748" cy="4904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5. Grin@arbejde-øjeblikke</a:t>
            </a:r>
          </a:p>
        </p:txBody>
      </p:sp>
      <p:sp>
        <p:nvSpPr>
          <p:cNvPr id="12" name="Content Placeholder 4"/>
          <p:cNvSpPr txBox="1">
            <a:spLocks/>
          </p:cNvSpPr>
          <p:nvPr/>
        </p:nvSpPr>
        <p:spPr>
          <a:xfrm>
            <a:off x="3428521" y="1884567"/>
            <a:ext cx="2397212" cy="2975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6. Fejr og anerkend</a:t>
            </a:r>
          </a:p>
        </p:txBody>
      </p:sp>
      <p:sp>
        <p:nvSpPr>
          <p:cNvPr id="13" name="Content Placeholder 4"/>
          <p:cNvSpPr txBox="1">
            <a:spLocks/>
          </p:cNvSpPr>
          <p:nvPr/>
        </p:nvSpPr>
        <p:spPr>
          <a:xfrm>
            <a:off x="6563953" y="1832964"/>
            <a:ext cx="2137718" cy="2975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7. Se mennesket</a:t>
            </a:r>
          </a:p>
        </p:txBody>
      </p:sp>
      <p:sp>
        <p:nvSpPr>
          <p:cNvPr id="14" name="Content Placeholder 4"/>
          <p:cNvSpPr txBox="1">
            <a:spLocks/>
          </p:cNvSpPr>
          <p:nvPr/>
        </p:nvSpPr>
        <p:spPr>
          <a:xfrm>
            <a:off x="5566718" y="1243569"/>
            <a:ext cx="2137718" cy="2975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500" dirty="0"/>
              <a:t>8. Vi bidrager</a:t>
            </a:r>
          </a:p>
        </p:txBody>
      </p:sp>
      <p:sp>
        <p:nvSpPr>
          <p:cNvPr id="16" name="Freeform 15"/>
          <p:cNvSpPr/>
          <p:nvPr/>
        </p:nvSpPr>
        <p:spPr>
          <a:xfrm>
            <a:off x="894944" y="1078388"/>
            <a:ext cx="8145529" cy="3281690"/>
          </a:xfrm>
          <a:custGeom>
            <a:avLst/>
            <a:gdLst>
              <a:gd name="connsiteX0" fmla="*/ 10193490 w 11768925"/>
              <a:gd name="connsiteY0" fmla="*/ 118487 h 5340970"/>
              <a:gd name="connsiteX1" fmla="*/ 11268528 w 11768925"/>
              <a:gd name="connsiteY1" fmla="*/ 81417 h 5340970"/>
              <a:gd name="connsiteX2" fmla="*/ 11663944 w 11768925"/>
              <a:gd name="connsiteY2" fmla="*/ 1045244 h 5340970"/>
              <a:gd name="connsiteX3" fmla="*/ 9390301 w 11768925"/>
              <a:gd name="connsiteY3" fmla="*/ 3121179 h 5340970"/>
              <a:gd name="connsiteX4" fmla="*/ 4744160 w 11768925"/>
              <a:gd name="connsiteY4" fmla="*/ 5147687 h 5340970"/>
              <a:gd name="connsiteX5" fmla="*/ 332798 w 11768925"/>
              <a:gd name="connsiteY5" fmla="*/ 5271255 h 5340970"/>
              <a:gd name="connsiteX6" fmla="*/ 332798 w 11768925"/>
              <a:gd name="connsiteY6" fmla="*/ 5258898 h 5340970"/>
              <a:gd name="connsiteX7" fmla="*/ 493436 w 11768925"/>
              <a:gd name="connsiteY7" fmla="*/ 5283611 h 5340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68925" h="5340970">
                <a:moveTo>
                  <a:pt x="10193490" y="118487"/>
                </a:moveTo>
                <a:cubicBezTo>
                  <a:pt x="10608471" y="22722"/>
                  <a:pt x="11023452" y="-73042"/>
                  <a:pt x="11268528" y="81417"/>
                </a:cubicBezTo>
                <a:cubicBezTo>
                  <a:pt x="11513604" y="235876"/>
                  <a:pt x="11976982" y="538617"/>
                  <a:pt x="11663944" y="1045244"/>
                </a:cubicBezTo>
                <a:cubicBezTo>
                  <a:pt x="11350906" y="1551871"/>
                  <a:pt x="10543598" y="2437439"/>
                  <a:pt x="9390301" y="3121179"/>
                </a:cubicBezTo>
                <a:cubicBezTo>
                  <a:pt x="8237004" y="3804919"/>
                  <a:pt x="6253744" y="4789341"/>
                  <a:pt x="4744160" y="5147687"/>
                </a:cubicBezTo>
                <a:cubicBezTo>
                  <a:pt x="3234576" y="5506033"/>
                  <a:pt x="1068025" y="5252720"/>
                  <a:pt x="332798" y="5271255"/>
                </a:cubicBezTo>
                <a:cubicBezTo>
                  <a:pt x="-402429" y="5289790"/>
                  <a:pt x="306025" y="5256839"/>
                  <a:pt x="332798" y="5258898"/>
                </a:cubicBezTo>
                <a:cubicBezTo>
                  <a:pt x="359571" y="5260957"/>
                  <a:pt x="466663" y="5283611"/>
                  <a:pt x="493436" y="5283611"/>
                </a:cubicBezTo>
              </a:path>
            </a:pathLst>
          </a:custGeom>
          <a:noFill/>
          <a:ln>
            <a:solidFill>
              <a:srgbClr val="FFC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350"/>
          </a:p>
        </p:txBody>
      </p:sp>
      <p:sp>
        <p:nvSpPr>
          <p:cNvPr id="17" name="Content Placeholder 4"/>
          <p:cNvSpPr txBox="1">
            <a:spLocks/>
          </p:cNvSpPr>
          <p:nvPr/>
        </p:nvSpPr>
        <p:spPr>
          <a:xfrm>
            <a:off x="5408579" y="3940111"/>
            <a:ext cx="3735421" cy="6412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sz="1200" b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1pPr>
            <a:lvl2pPr marL="180000" marR="0" indent="-1800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  <a:defRPr sz="1200" b="0" i="0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400"/>
              </a:spcAft>
              <a:buFontTx/>
              <a:buNone/>
              <a:defRPr sz="1600" b="1" kern="1200" baseline="0">
                <a:solidFill>
                  <a:schemeClr val="tx1"/>
                </a:solidFill>
                <a:latin typeface="Delivery" panose="020F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sz="1600" dirty="0"/>
              <a:t>GØR DET HELE IGEN OG IGEN OG IGEN!</a:t>
            </a:r>
          </a:p>
          <a:p>
            <a:endParaRPr lang="da-DK" sz="1500" dirty="0"/>
          </a:p>
        </p:txBody>
      </p:sp>
    </p:spTree>
    <p:extLst>
      <p:ext uri="{BB962C8B-B14F-4D97-AF65-F5344CB8AC3E}">
        <p14:creationId xmlns:p14="http://schemas.microsoft.com/office/powerpoint/2010/main" val="23864330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L_PPT_16x9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ATL årsmøde 21052019 DHL" id="{8FA68602-DDA9-4B89-BCB2-ED9468864332}" vid="{B297B741-55AC-4168-A6FF-5163FF260DC4}"/>
    </a:ext>
  </a:ext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TL årsmøde 21052019 DHL</Template>
  <TotalTime>126</TotalTime>
  <Words>801</Words>
  <Application>Microsoft Office PowerPoint</Application>
  <PresentationFormat>On-screen Show (16:9)</PresentationFormat>
  <Paragraphs>138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Delivery</vt:lpstr>
      <vt:lpstr>DeutschePost-MedCn</vt:lpstr>
      <vt:lpstr>Webdings</vt:lpstr>
      <vt:lpstr>Wingdings</vt:lpstr>
      <vt:lpstr>DHL_PPT_16x9</vt:lpstr>
      <vt:lpstr>think-cell Folie</vt:lpstr>
      <vt:lpstr>Dhl express</vt:lpstr>
      <vt:lpstr>Medarbejderne siger..</vt:lpstr>
      <vt:lpstr>Filosofien bag arbejdsglæde i praksis: Service Profit Chain</vt:lpstr>
      <vt:lpstr>Nøglen: Glad på arbejde</vt:lpstr>
      <vt:lpstr>Byggesten: Tillid</vt:lpstr>
      <vt:lpstr>Byggesten til at være glad på arbejde: Motivationsfaktorer</vt:lpstr>
      <vt:lpstr>Teori til hverdag</vt:lpstr>
      <vt:lpstr>Ledelse i praksis i DPDHL</vt:lpstr>
      <vt:lpstr>En rejse uden ende</vt:lpstr>
      <vt:lpstr>ADVARSEL: Det kunne gå hen og blive sjovt!</vt:lpstr>
      <vt:lpstr>Mange tak for din tid ..og fortsat god årsdag </vt:lpstr>
    </vt:vector>
  </TitlesOfParts>
  <Company>Deutsche Post DH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hl express</dc:title>
  <dc:creator>Pia Skat-Rørdam</dc:creator>
  <cp:keywords>16 to 9</cp:keywords>
  <cp:lastModifiedBy>Susanne Linhart</cp:lastModifiedBy>
  <cp:revision>11</cp:revision>
  <dcterms:created xsi:type="dcterms:W3CDTF">2019-10-21T06:28:39Z</dcterms:created>
  <dcterms:modified xsi:type="dcterms:W3CDTF">2019-10-21T15:1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ly 2017</vt:lpwstr>
  </property>
  <property fmtid="{D5CDD505-2E9C-101B-9397-08002B2CF9AE}" pid="3" name="Dokumentnummer">
    <vt:lpwstr>3.0</vt:lpwstr>
  </property>
  <property fmtid="{D5CDD505-2E9C-101B-9397-08002B2CF9AE}" pid="4" name="Office">
    <vt:lpwstr>2007/2010</vt:lpwstr>
  </property>
  <property fmtid="{D5CDD505-2E9C-101B-9397-08002B2CF9AE}" pid="5" name="Job No">
    <vt:lpwstr>62557</vt:lpwstr>
  </property>
</Properties>
</file>